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27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30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31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33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34.xml" ContentType="application/vnd.openxmlformats-officedocument.presentationml.tags+xml"/>
  <Override PartName="/ppt/notesSlides/notesSlide14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ags/tag35.xml" ContentType="application/vnd.openxmlformats-officedocument.presentationml.tags+xml"/>
  <Override PartName="/ppt/notesSlides/notesSlide15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tags/tag36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tags/tag37.xml" ContentType="application/vnd.openxmlformats-officedocument.presentationml.tags+xml"/>
  <Override PartName="/ppt/notesSlides/notesSlide17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tags/tag38.xml" ContentType="application/vnd.openxmlformats-officedocument.presentationml.tags+xml"/>
  <Override PartName="/ppt/notesSlides/notesSlide18.xml" ContentType="application/vnd.openxmlformats-officedocument.presentationml.notesSlide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tags/tag39.xml" ContentType="application/vnd.openxmlformats-officedocument.presentationml.tags+xml"/>
  <Override PartName="/ppt/notesSlides/notesSlide19.xml" ContentType="application/vnd.openxmlformats-officedocument.presentationml.notesSlide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tags/tag40.xml" ContentType="application/vnd.openxmlformats-officedocument.presentationml.tags+xml"/>
  <Override PartName="/ppt/notesSlides/notesSlide20.xml" ContentType="application/vnd.openxmlformats-officedocument.presentationml.notesSlide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tags/tag41.xml" ContentType="application/vnd.openxmlformats-officedocument.presentationml.tags+xml"/>
  <Override PartName="/ppt/notesSlides/notesSlide21.xml" ContentType="application/vnd.openxmlformats-officedocument.presentationml.notesSlide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tags/tag42.xml" ContentType="application/vnd.openxmlformats-officedocument.presentationml.tags+xml"/>
  <Override PartName="/ppt/notesSlides/notesSlide22.xml" ContentType="application/vnd.openxmlformats-officedocument.presentationml.notesSlide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tags/tag43.xml" ContentType="application/vnd.openxmlformats-officedocument.presentationml.tags+xml"/>
  <Override PartName="/ppt/notesSlides/notesSlide23.xml" ContentType="application/vnd.openxmlformats-officedocument.presentationml.notesSlide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tags/tag44.xml" ContentType="application/vnd.openxmlformats-officedocument.presentationml.tags+xml"/>
  <Override PartName="/ppt/notesSlides/notesSlide24.xml" ContentType="application/vnd.openxmlformats-officedocument.presentationml.notesSlide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tags/tag45.xml" ContentType="application/vnd.openxmlformats-officedocument.presentationml.tags+xml"/>
  <Override PartName="/ppt/notesSlides/notesSlide25.xml" ContentType="application/vnd.openxmlformats-officedocument.presentationml.notesSlide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tags/tag46.xml" ContentType="application/vnd.openxmlformats-officedocument.presentationml.tags+xml"/>
  <Override PartName="/ppt/notesSlides/notesSlide26.xml" ContentType="application/vnd.openxmlformats-officedocument.presentationml.notesSlide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tags/tag47.xml" ContentType="application/vnd.openxmlformats-officedocument.presentationml.tags+xml"/>
  <Override PartName="/ppt/notesSlides/notesSlide27.xml" ContentType="application/vnd.openxmlformats-officedocument.presentationml.notesSlide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tags/tag48.xml" ContentType="application/vnd.openxmlformats-officedocument.presentationml.tags+xml"/>
  <Override PartName="/ppt/notesSlides/notesSlide28.xml" ContentType="application/vnd.openxmlformats-officedocument.presentationml.notesSlide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tags/tag49.xml" ContentType="application/vnd.openxmlformats-officedocument.presentationml.tags+xml"/>
  <Override PartName="/ppt/notesSlides/notesSlide29.xml" ContentType="application/vnd.openxmlformats-officedocument.presentationml.notesSlide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tags/tag50.xml" ContentType="application/vnd.openxmlformats-officedocument.presentationml.tags+xml"/>
  <Override PartName="/ppt/notesSlides/notesSlide30.xml" ContentType="application/vnd.openxmlformats-officedocument.presentationml.notesSlide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6" r:id="rId4"/>
    <p:sldMasterId id="2147483727" r:id="rId5"/>
    <p:sldMasterId id="2147483741" r:id="rId6"/>
    <p:sldMasterId id="2147483743" r:id="rId7"/>
    <p:sldMasterId id="2147483746" r:id="rId8"/>
    <p:sldMasterId id="2147483747" r:id="rId9"/>
  </p:sldMasterIdLst>
  <p:notesMasterIdLst>
    <p:notesMasterId r:id="rId42"/>
  </p:notesMasterIdLst>
  <p:handoutMasterIdLst>
    <p:handoutMasterId r:id="rId43"/>
  </p:handoutMasterIdLst>
  <p:sldIdLst>
    <p:sldId id="256" r:id="rId10"/>
    <p:sldId id="266" r:id="rId11"/>
    <p:sldId id="29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  <p:sldId id="287" r:id="rId33"/>
    <p:sldId id="288" r:id="rId34"/>
    <p:sldId id="289" r:id="rId35"/>
    <p:sldId id="290" r:id="rId36"/>
    <p:sldId id="291" r:id="rId37"/>
    <p:sldId id="292" r:id="rId38"/>
    <p:sldId id="297" r:id="rId39"/>
    <p:sldId id="298" r:id="rId40"/>
    <p:sldId id="294" r:id="rId4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0404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00" autoAdjust="0"/>
    <p:restoredTop sz="63280" autoAdjust="0"/>
  </p:normalViewPr>
  <p:slideViewPr>
    <p:cSldViewPr snapToGrid="0" showGuides="1">
      <p:cViewPr varScale="1">
        <p:scale>
          <a:sx n="58" d="100"/>
          <a:sy n="58" d="100"/>
        </p:scale>
        <p:origin x="2484" y="7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-2838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slide" Target="slides/slide3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A01DE27-D0DC-4168-86C7-74513C539C53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943BB8FA-6429-4C54-A588-CA9999A62913}">
      <dgm:prSet phldrT="[Text]" custT="1"/>
      <dgm:spPr/>
      <dgm:t>
        <a:bodyPr/>
        <a:lstStyle/>
        <a:p>
          <a:r>
            <a:rPr lang="en-US" sz="2000" dirty="0" smtClean="0"/>
            <a:t>Aggregations operations process data records and return computed results. </a:t>
          </a:r>
          <a:endParaRPr lang="en-US" sz="2000" dirty="0"/>
        </a:p>
      </dgm:t>
    </dgm:pt>
    <dgm:pt modelId="{7D22718D-9406-4BAC-81FB-27C593F1FEBA}" type="parTrans" cxnId="{78D586C8-E340-4135-81CB-3DB48A5348B4}">
      <dgm:prSet/>
      <dgm:spPr/>
      <dgm:t>
        <a:bodyPr/>
        <a:lstStyle/>
        <a:p>
          <a:endParaRPr lang="en-US" sz="2000"/>
        </a:p>
      </dgm:t>
    </dgm:pt>
    <dgm:pt modelId="{4BA95EE6-952C-4E88-B1A8-6C8B14340140}" type="sibTrans" cxnId="{78D586C8-E340-4135-81CB-3DB48A5348B4}">
      <dgm:prSet/>
      <dgm:spPr/>
      <dgm:t>
        <a:bodyPr/>
        <a:lstStyle/>
        <a:p>
          <a:endParaRPr lang="en-US" sz="2000"/>
        </a:p>
      </dgm:t>
    </dgm:pt>
    <dgm:pt modelId="{1118C810-2E73-4127-8965-E21049E0E27D}">
      <dgm:prSet phldrT="[Text]" custT="1"/>
      <dgm:spPr/>
      <dgm:t>
        <a:bodyPr/>
        <a:lstStyle/>
        <a:p>
          <a:r>
            <a:rPr lang="en-US" sz="2000" dirty="0" smtClean="0"/>
            <a:t>Aggregation operations group values from multiple documents together, and can perform a variety of operations on the grouped data to return a single result.</a:t>
          </a:r>
          <a:endParaRPr lang="en-US" sz="2000" dirty="0"/>
        </a:p>
      </dgm:t>
    </dgm:pt>
    <dgm:pt modelId="{D64E2014-0FD7-468E-BBD2-11598936F497}" type="parTrans" cxnId="{F049A687-6023-4D97-8CDA-20E410FD8467}">
      <dgm:prSet/>
      <dgm:spPr/>
      <dgm:t>
        <a:bodyPr/>
        <a:lstStyle/>
        <a:p>
          <a:endParaRPr lang="en-US" sz="2000"/>
        </a:p>
      </dgm:t>
    </dgm:pt>
    <dgm:pt modelId="{38A67AA1-670B-426B-BA3E-FD9B11F1E110}" type="sibTrans" cxnId="{F049A687-6023-4D97-8CDA-20E410FD8467}">
      <dgm:prSet/>
      <dgm:spPr/>
      <dgm:t>
        <a:bodyPr/>
        <a:lstStyle/>
        <a:p>
          <a:endParaRPr lang="en-US" sz="2000"/>
        </a:p>
      </dgm:t>
    </dgm:pt>
    <dgm:pt modelId="{DA75BC61-A321-40B5-A3D1-71D351C0F1EB}">
      <dgm:prSet phldrT="[Text]" custT="1"/>
      <dgm:spPr/>
      <dgm:t>
        <a:bodyPr/>
        <a:lstStyle/>
        <a:p>
          <a:r>
            <a:rPr lang="en-US" sz="2000" dirty="0" smtClean="0"/>
            <a:t>In sql count(*) and with group by is an equivalent of mongodb aggregation.</a:t>
          </a:r>
          <a:endParaRPr lang="en-US" sz="2000" dirty="0"/>
        </a:p>
      </dgm:t>
    </dgm:pt>
    <dgm:pt modelId="{90CA0DEA-5148-49FD-957F-733824DC504D}" type="parTrans" cxnId="{D498A5E0-31AE-41C7-AB17-06F068D68DB1}">
      <dgm:prSet/>
      <dgm:spPr/>
      <dgm:t>
        <a:bodyPr/>
        <a:lstStyle/>
        <a:p>
          <a:endParaRPr lang="en-US" sz="2000"/>
        </a:p>
      </dgm:t>
    </dgm:pt>
    <dgm:pt modelId="{064FD356-D549-4BE5-B619-F370B7F64EB9}" type="sibTrans" cxnId="{D498A5E0-31AE-41C7-AB17-06F068D68DB1}">
      <dgm:prSet/>
      <dgm:spPr/>
      <dgm:t>
        <a:bodyPr/>
        <a:lstStyle/>
        <a:p>
          <a:endParaRPr lang="en-US" sz="2000"/>
        </a:p>
      </dgm:t>
    </dgm:pt>
    <dgm:pt modelId="{D33F0FE0-5E4C-4574-B219-FA4A2CD1CCCA}" type="pres">
      <dgm:prSet presAssocID="{2A01DE27-D0DC-4168-86C7-74513C539C5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7A58E87-4E91-4915-9618-C77C66F3A2A8}" type="pres">
      <dgm:prSet presAssocID="{943BB8FA-6429-4C54-A588-CA9999A62913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B6702D-6B96-4EB7-80DD-2FD3BC8BB96C}" type="pres">
      <dgm:prSet presAssocID="{4BA95EE6-952C-4E88-B1A8-6C8B14340140}" presName="spacer" presStyleCnt="0"/>
      <dgm:spPr/>
    </dgm:pt>
    <dgm:pt modelId="{7A6B054F-6C23-4A3F-A1FF-A212EE42C999}" type="pres">
      <dgm:prSet presAssocID="{1118C810-2E73-4127-8965-E21049E0E27D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7A8B8E-4F80-4C0C-824E-1C7C2027D4EF}" type="pres">
      <dgm:prSet presAssocID="{38A67AA1-670B-426B-BA3E-FD9B11F1E110}" presName="spacer" presStyleCnt="0"/>
      <dgm:spPr/>
    </dgm:pt>
    <dgm:pt modelId="{0D467D8F-D034-4388-86B5-AE2B3A1C2D0C}" type="pres">
      <dgm:prSet presAssocID="{DA75BC61-A321-40B5-A3D1-71D351C0F1EB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498A5E0-31AE-41C7-AB17-06F068D68DB1}" srcId="{2A01DE27-D0DC-4168-86C7-74513C539C53}" destId="{DA75BC61-A321-40B5-A3D1-71D351C0F1EB}" srcOrd="2" destOrd="0" parTransId="{90CA0DEA-5148-49FD-957F-733824DC504D}" sibTransId="{064FD356-D549-4BE5-B619-F370B7F64EB9}"/>
    <dgm:cxn modelId="{2FBE0A3A-5120-43FB-9829-B995266782A1}" type="presOf" srcId="{2A01DE27-D0DC-4168-86C7-74513C539C53}" destId="{D33F0FE0-5E4C-4574-B219-FA4A2CD1CCCA}" srcOrd="0" destOrd="0" presId="urn:microsoft.com/office/officeart/2005/8/layout/vList2"/>
    <dgm:cxn modelId="{094A52C9-7C75-40AC-8831-A0CA0DBAAE7B}" type="presOf" srcId="{943BB8FA-6429-4C54-A588-CA9999A62913}" destId="{97A58E87-4E91-4915-9618-C77C66F3A2A8}" srcOrd="0" destOrd="0" presId="urn:microsoft.com/office/officeart/2005/8/layout/vList2"/>
    <dgm:cxn modelId="{78D586C8-E340-4135-81CB-3DB48A5348B4}" srcId="{2A01DE27-D0DC-4168-86C7-74513C539C53}" destId="{943BB8FA-6429-4C54-A588-CA9999A62913}" srcOrd="0" destOrd="0" parTransId="{7D22718D-9406-4BAC-81FB-27C593F1FEBA}" sibTransId="{4BA95EE6-952C-4E88-B1A8-6C8B14340140}"/>
    <dgm:cxn modelId="{F049A687-6023-4D97-8CDA-20E410FD8467}" srcId="{2A01DE27-D0DC-4168-86C7-74513C539C53}" destId="{1118C810-2E73-4127-8965-E21049E0E27D}" srcOrd="1" destOrd="0" parTransId="{D64E2014-0FD7-468E-BBD2-11598936F497}" sibTransId="{38A67AA1-670B-426B-BA3E-FD9B11F1E110}"/>
    <dgm:cxn modelId="{3A8C6448-75BB-47E1-A414-D0314A31E7A4}" type="presOf" srcId="{DA75BC61-A321-40B5-A3D1-71D351C0F1EB}" destId="{0D467D8F-D034-4388-86B5-AE2B3A1C2D0C}" srcOrd="0" destOrd="0" presId="urn:microsoft.com/office/officeart/2005/8/layout/vList2"/>
    <dgm:cxn modelId="{5B56BCF4-2C0F-4268-A903-717893B5B46B}" type="presOf" srcId="{1118C810-2E73-4127-8965-E21049E0E27D}" destId="{7A6B054F-6C23-4A3F-A1FF-A212EE42C999}" srcOrd="0" destOrd="0" presId="urn:microsoft.com/office/officeart/2005/8/layout/vList2"/>
    <dgm:cxn modelId="{6059F76F-B443-474A-9B45-9B3F1101FA29}" type="presParOf" srcId="{D33F0FE0-5E4C-4574-B219-FA4A2CD1CCCA}" destId="{97A58E87-4E91-4915-9618-C77C66F3A2A8}" srcOrd="0" destOrd="0" presId="urn:microsoft.com/office/officeart/2005/8/layout/vList2"/>
    <dgm:cxn modelId="{42AC2018-5389-457F-B443-88B669AE1146}" type="presParOf" srcId="{D33F0FE0-5E4C-4574-B219-FA4A2CD1CCCA}" destId="{5DB6702D-6B96-4EB7-80DD-2FD3BC8BB96C}" srcOrd="1" destOrd="0" presId="urn:microsoft.com/office/officeart/2005/8/layout/vList2"/>
    <dgm:cxn modelId="{9F3F3717-7612-49C5-AFEC-10F99B6F2A22}" type="presParOf" srcId="{D33F0FE0-5E4C-4574-B219-FA4A2CD1CCCA}" destId="{7A6B054F-6C23-4A3F-A1FF-A212EE42C999}" srcOrd="2" destOrd="0" presId="urn:microsoft.com/office/officeart/2005/8/layout/vList2"/>
    <dgm:cxn modelId="{60039CA8-E99F-43A1-96E5-1E47221D4554}" type="presParOf" srcId="{D33F0FE0-5E4C-4574-B219-FA4A2CD1CCCA}" destId="{157A8B8E-4F80-4C0C-824E-1C7C2027D4EF}" srcOrd="3" destOrd="0" presId="urn:microsoft.com/office/officeart/2005/8/layout/vList2"/>
    <dgm:cxn modelId="{EEDA30FB-AFE2-46B8-9BDC-B916E0DCCB8A}" type="presParOf" srcId="{D33F0FE0-5E4C-4574-B219-FA4A2CD1CCCA}" destId="{0D467D8F-D034-4388-86B5-AE2B3A1C2D0C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B80AB0E-EA6C-4569-9D63-CC1760C743E7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E3D0D828-BF4E-439D-8C22-3D16BE67035E}">
      <dgm:prSet phldrT="[Text]" custT="1"/>
      <dgm:spPr/>
      <dgm:t>
        <a:bodyPr/>
        <a:lstStyle/>
        <a:p>
          <a:r>
            <a:rPr lang="en-US" sz="2000" dirty="0" smtClean="0"/>
            <a:t>The group pipeline operator is similar to the SQL's GROUP BY clause.</a:t>
          </a:r>
          <a:endParaRPr lang="en-US" sz="2000" dirty="0"/>
        </a:p>
      </dgm:t>
    </dgm:pt>
    <dgm:pt modelId="{F6501A62-362B-4990-9248-2C75DA6739E0}" type="parTrans" cxnId="{96E8BF52-DE4E-407A-9166-87727351BB75}">
      <dgm:prSet/>
      <dgm:spPr/>
      <dgm:t>
        <a:bodyPr/>
        <a:lstStyle/>
        <a:p>
          <a:endParaRPr lang="en-US" sz="2000"/>
        </a:p>
      </dgm:t>
    </dgm:pt>
    <dgm:pt modelId="{7012AC78-BB74-4E06-BA5C-4CCA585A2C1E}" type="sibTrans" cxnId="{96E8BF52-DE4E-407A-9166-87727351BB75}">
      <dgm:prSet/>
      <dgm:spPr/>
      <dgm:t>
        <a:bodyPr/>
        <a:lstStyle/>
        <a:p>
          <a:endParaRPr lang="en-US" sz="2000"/>
        </a:p>
      </dgm:t>
    </dgm:pt>
    <dgm:pt modelId="{93D368A9-2212-4B30-B1CF-E79D5EBA2CD5}">
      <dgm:prSet phldrT="[Text]" custT="1"/>
      <dgm:spPr/>
      <dgm:t>
        <a:bodyPr/>
        <a:lstStyle/>
        <a:p>
          <a:r>
            <a:rPr lang="en-US" sz="2000" b="1" dirty="0" smtClean="0"/>
            <a:t>Example:</a:t>
          </a:r>
          <a:r>
            <a:rPr lang="en-US" sz="2000" dirty="0" smtClean="0"/>
            <a:t> Show Count Of Male and Female from employees	 collections</a:t>
          </a:r>
          <a:endParaRPr lang="en-US" sz="2000" dirty="0"/>
        </a:p>
      </dgm:t>
    </dgm:pt>
    <dgm:pt modelId="{815C8665-0060-4C48-B45D-DDBE85037229}" type="parTrans" cxnId="{C4148CA3-A6F4-485E-80F5-C639C96EC85E}">
      <dgm:prSet/>
      <dgm:spPr/>
      <dgm:t>
        <a:bodyPr/>
        <a:lstStyle/>
        <a:p>
          <a:endParaRPr lang="en-US" sz="2000"/>
        </a:p>
      </dgm:t>
    </dgm:pt>
    <dgm:pt modelId="{2AEAE322-23F3-443A-A3D3-49FF5C7CADAB}" type="sibTrans" cxnId="{C4148CA3-A6F4-485E-80F5-C639C96EC85E}">
      <dgm:prSet/>
      <dgm:spPr/>
      <dgm:t>
        <a:bodyPr/>
        <a:lstStyle/>
        <a:p>
          <a:endParaRPr lang="en-US" sz="2000"/>
        </a:p>
      </dgm:t>
    </dgm:pt>
    <dgm:pt modelId="{8AB946CC-E3B8-4B3C-9977-8A01F3E539FD}">
      <dgm:prSet phldrT="[Text]" custT="1"/>
      <dgm:spPr/>
      <dgm:t>
        <a:bodyPr/>
        <a:lstStyle/>
        <a:p>
          <a:r>
            <a:rPr lang="en-US" dirty="0" smtClean="0"/>
            <a:t>-&gt;db.employees.aggregate([{$group : {_id : "$gender", NoOfEmp : {$sum : 1}}}])</a:t>
          </a:r>
          <a:endParaRPr lang="en-US" sz="2000" dirty="0"/>
        </a:p>
      </dgm:t>
    </dgm:pt>
    <dgm:pt modelId="{43ABB679-C980-4A83-9057-30AD98B0092B}" type="parTrans" cxnId="{290424A2-C93E-4EF5-8C25-FBD2FBF97CAF}">
      <dgm:prSet/>
      <dgm:spPr/>
      <dgm:t>
        <a:bodyPr/>
        <a:lstStyle/>
        <a:p>
          <a:endParaRPr lang="en-US" sz="2000"/>
        </a:p>
      </dgm:t>
    </dgm:pt>
    <dgm:pt modelId="{0FA14E0E-A783-40DE-84D3-FB5FE47B4B97}" type="sibTrans" cxnId="{290424A2-C93E-4EF5-8C25-FBD2FBF97CAF}">
      <dgm:prSet/>
      <dgm:spPr/>
      <dgm:t>
        <a:bodyPr/>
        <a:lstStyle/>
        <a:p>
          <a:endParaRPr lang="en-US" sz="2000"/>
        </a:p>
      </dgm:t>
    </dgm:pt>
    <dgm:pt modelId="{8DC40BE8-2851-48E0-8FF3-324569726333}" type="pres">
      <dgm:prSet presAssocID="{0B80AB0E-EA6C-4569-9D63-CC1760C743E7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48AD1B7-3635-4C3B-9773-A4D5D4A3E4E1}" type="pres">
      <dgm:prSet presAssocID="{E3D0D828-BF4E-439D-8C22-3D16BE67035E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B21C5F-FCCD-4204-9AB9-820BBD692286}" type="pres">
      <dgm:prSet presAssocID="{7012AC78-BB74-4E06-BA5C-4CCA585A2C1E}" presName="spacer" presStyleCnt="0"/>
      <dgm:spPr/>
    </dgm:pt>
    <dgm:pt modelId="{77136BD6-F444-4D32-A3D1-7CF2C926057E}" type="pres">
      <dgm:prSet presAssocID="{93D368A9-2212-4B30-B1CF-E79D5EBA2CD5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3C2D8D9-F710-41C0-B9CB-EEA4B0C53601}" type="pres">
      <dgm:prSet presAssocID="{93D368A9-2212-4B30-B1CF-E79D5EBA2CD5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4148CA3-A6F4-485E-80F5-C639C96EC85E}" srcId="{0B80AB0E-EA6C-4569-9D63-CC1760C743E7}" destId="{93D368A9-2212-4B30-B1CF-E79D5EBA2CD5}" srcOrd="1" destOrd="0" parTransId="{815C8665-0060-4C48-B45D-DDBE85037229}" sibTransId="{2AEAE322-23F3-443A-A3D3-49FF5C7CADAB}"/>
    <dgm:cxn modelId="{1EEF9AAE-F17F-4B20-839E-D9BD89DD2E7D}" type="presOf" srcId="{0B80AB0E-EA6C-4569-9D63-CC1760C743E7}" destId="{8DC40BE8-2851-48E0-8FF3-324569726333}" srcOrd="0" destOrd="0" presId="urn:microsoft.com/office/officeart/2005/8/layout/vList2"/>
    <dgm:cxn modelId="{96E8BF52-DE4E-407A-9166-87727351BB75}" srcId="{0B80AB0E-EA6C-4569-9D63-CC1760C743E7}" destId="{E3D0D828-BF4E-439D-8C22-3D16BE67035E}" srcOrd="0" destOrd="0" parTransId="{F6501A62-362B-4990-9248-2C75DA6739E0}" sibTransId="{7012AC78-BB74-4E06-BA5C-4CCA585A2C1E}"/>
    <dgm:cxn modelId="{290424A2-C93E-4EF5-8C25-FBD2FBF97CAF}" srcId="{93D368A9-2212-4B30-B1CF-E79D5EBA2CD5}" destId="{8AB946CC-E3B8-4B3C-9977-8A01F3E539FD}" srcOrd="0" destOrd="0" parTransId="{43ABB679-C980-4A83-9057-30AD98B0092B}" sibTransId="{0FA14E0E-A783-40DE-84D3-FB5FE47B4B97}"/>
    <dgm:cxn modelId="{2C4521D1-FCB8-4DBC-AD55-C1D941090DDC}" type="presOf" srcId="{E3D0D828-BF4E-439D-8C22-3D16BE67035E}" destId="{248AD1B7-3635-4C3B-9773-A4D5D4A3E4E1}" srcOrd="0" destOrd="0" presId="urn:microsoft.com/office/officeart/2005/8/layout/vList2"/>
    <dgm:cxn modelId="{66A0EA9F-6DB5-4940-A3A3-C8E52529F085}" type="presOf" srcId="{8AB946CC-E3B8-4B3C-9977-8A01F3E539FD}" destId="{63C2D8D9-F710-41C0-B9CB-EEA4B0C53601}" srcOrd="0" destOrd="0" presId="urn:microsoft.com/office/officeart/2005/8/layout/vList2"/>
    <dgm:cxn modelId="{82C73D4A-22B1-45F6-804A-205C762BE981}" type="presOf" srcId="{93D368A9-2212-4B30-B1CF-E79D5EBA2CD5}" destId="{77136BD6-F444-4D32-A3D1-7CF2C926057E}" srcOrd="0" destOrd="0" presId="urn:microsoft.com/office/officeart/2005/8/layout/vList2"/>
    <dgm:cxn modelId="{59BBA1D4-CC64-4DC7-88E9-7E9DD65D9CAC}" type="presParOf" srcId="{8DC40BE8-2851-48E0-8FF3-324569726333}" destId="{248AD1B7-3635-4C3B-9773-A4D5D4A3E4E1}" srcOrd="0" destOrd="0" presId="urn:microsoft.com/office/officeart/2005/8/layout/vList2"/>
    <dgm:cxn modelId="{F4216422-3A9A-4501-8343-C86F4F288D71}" type="presParOf" srcId="{8DC40BE8-2851-48E0-8FF3-324569726333}" destId="{BBB21C5F-FCCD-4204-9AB9-820BBD692286}" srcOrd="1" destOrd="0" presId="urn:microsoft.com/office/officeart/2005/8/layout/vList2"/>
    <dgm:cxn modelId="{DC809B1A-4CEA-48AE-BD03-36DA68E3A63B}" type="presParOf" srcId="{8DC40BE8-2851-48E0-8FF3-324569726333}" destId="{77136BD6-F444-4D32-A3D1-7CF2C926057E}" srcOrd="2" destOrd="0" presId="urn:microsoft.com/office/officeart/2005/8/layout/vList2"/>
    <dgm:cxn modelId="{99207FD5-0E4A-4F58-BC8D-72C6800D8C33}" type="presParOf" srcId="{8DC40BE8-2851-48E0-8FF3-324569726333}" destId="{63C2D8D9-F710-41C0-B9CB-EEA4B0C53601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F20DEF88-B411-440E-A98A-7A2546FFFFC6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40B4DD92-B49B-49FA-863B-FD8079D889BA}">
      <dgm:prSet phldrT="[Text]" custT="1"/>
      <dgm:spPr/>
      <dgm:t>
        <a:bodyPr/>
        <a:lstStyle/>
        <a:p>
          <a:r>
            <a:rPr lang="en-US" sz="2000" dirty="0" smtClean="0"/>
            <a:t>In this aggregation example, we have specified an _id element .</a:t>
          </a:r>
          <a:endParaRPr lang="en-US" sz="2000" dirty="0"/>
        </a:p>
      </dgm:t>
    </dgm:pt>
    <dgm:pt modelId="{A82A5EB3-64F4-43BE-9905-7BE3850E85FD}" type="parTrans" cxnId="{4A1A4462-9052-4380-852D-F6BAD48F1ED5}">
      <dgm:prSet/>
      <dgm:spPr/>
      <dgm:t>
        <a:bodyPr/>
        <a:lstStyle/>
        <a:p>
          <a:endParaRPr lang="en-US" sz="2000"/>
        </a:p>
      </dgm:t>
    </dgm:pt>
    <dgm:pt modelId="{6FA3066C-EE6C-4A44-A210-C1B242716D84}" type="sibTrans" cxnId="{4A1A4462-9052-4380-852D-F6BAD48F1ED5}">
      <dgm:prSet/>
      <dgm:spPr/>
      <dgm:t>
        <a:bodyPr/>
        <a:lstStyle/>
        <a:p>
          <a:endParaRPr lang="en-US" sz="2000"/>
        </a:p>
      </dgm:t>
    </dgm:pt>
    <dgm:pt modelId="{8BEF97F7-A1A2-48DA-ADCD-A2F1DC751E55}">
      <dgm:prSet phldrT="[Text]" custT="1"/>
      <dgm:spPr/>
      <dgm:t>
        <a:bodyPr/>
        <a:lstStyle/>
        <a:p>
          <a:r>
            <a:rPr lang="en-US" sz="2000" dirty="0" smtClean="0"/>
            <a:t>The _id element tells MongoDB to group the documents based on gender field.</a:t>
          </a:r>
          <a:endParaRPr lang="en-US" sz="2000" dirty="0"/>
        </a:p>
      </dgm:t>
    </dgm:pt>
    <dgm:pt modelId="{2B4A9665-AD29-4AD2-A836-7E5DB046FD26}" type="parTrans" cxnId="{0A63252F-ABEE-46C2-B2FE-2FFA00AE9F63}">
      <dgm:prSet/>
      <dgm:spPr/>
      <dgm:t>
        <a:bodyPr/>
        <a:lstStyle/>
        <a:p>
          <a:endParaRPr lang="en-US" sz="2000"/>
        </a:p>
      </dgm:t>
    </dgm:pt>
    <dgm:pt modelId="{D08E7FE5-6C25-47B2-8138-98756FD28C28}" type="sibTrans" cxnId="{0A63252F-ABEE-46C2-B2FE-2FFA00AE9F63}">
      <dgm:prSet/>
      <dgm:spPr/>
      <dgm:t>
        <a:bodyPr/>
        <a:lstStyle/>
        <a:p>
          <a:endParaRPr lang="en-US" sz="2000"/>
        </a:p>
      </dgm:t>
    </dgm:pt>
    <dgm:pt modelId="{75AC0D4D-BB6E-4900-B724-02DDA8604173}">
      <dgm:prSet phldrT="[Text]" custT="1"/>
      <dgm:spPr/>
      <dgm:t>
        <a:bodyPr/>
        <a:lstStyle/>
        <a:p>
          <a:r>
            <a:rPr lang="en-US" sz="2000" dirty="0" smtClean="0"/>
            <a:t>The NoOfEmp uses an aggregation function </a:t>
          </a:r>
          <a:r>
            <a:rPr lang="en-US" sz="2000" b="1" dirty="0" smtClean="0"/>
            <a:t>$sum</a:t>
          </a:r>
          <a:r>
            <a:rPr lang="en-US" sz="2000" dirty="0" smtClean="0"/>
            <a:t>, which basically counts up both  gender and returns the sum.</a:t>
          </a:r>
          <a:endParaRPr lang="en-US" sz="2000" dirty="0"/>
        </a:p>
      </dgm:t>
    </dgm:pt>
    <dgm:pt modelId="{FB48B449-9510-41FF-B0B7-482683678DED}" type="parTrans" cxnId="{E87E95AD-457C-459E-B743-81B17C59F4F8}">
      <dgm:prSet/>
      <dgm:spPr/>
      <dgm:t>
        <a:bodyPr/>
        <a:lstStyle/>
        <a:p>
          <a:endParaRPr lang="en-US" sz="2000"/>
        </a:p>
      </dgm:t>
    </dgm:pt>
    <dgm:pt modelId="{24ABAE3C-22D9-4083-BA54-351C75259B78}" type="sibTrans" cxnId="{E87E95AD-457C-459E-B743-81B17C59F4F8}">
      <dgm:prSet/>
      <dgm:spPr/>
      <dgm:t>
        <a:bodyPr/>
        <a:lstStyle/>
        <a:p>
          <a:endParaRPr lang="en-US" sz="2000"/>
        </a:p>
      </dgm:t>
    </dgm:pt>
    <dgm:pt modelId="{3D2033CF-9DDF-4C7B-9004-EBCDD6284F6A}" type="pres">
      <dgm:prSet presAssocID="{F20DEF88-B411-440E-A98A-7A2546FFFFC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E18CEA8-B717-47DB-B740-4F04B92826F8}" type="pres">
      <dgm:prSet presAssocID="{40B4DD92-B49B-49FA-863B-FD8079D889BA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9080C7-F026-4554-9C86-02A6A9449950}" type="pres">
      <dgm:prSet presAssocID="{6FA3066C-EE6C-4A44-A210-C1B242716D84}" presName="spacer" presStyleCnt="0"/>
      <dgm:spPr/>
    </dgm:pt>
    <dgm:pt modelId="{BB997FDB-09CA-4033-93AE-A9F468F093BB}" type="pres">
      <dgm:prSet presAssocID="{8BEF97F7-A1A2-48DA-ADCD-A2F1DC751E55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FB4FCE-DD77-4DA7-AEEF-D6BC8FE28ED6}" type="pres">
      <dgm:prSet presAssocID="{D08E7FE5-6C25-47B2-8138-98756FD28C28}" presName="spacer" presStyleCnt="0"/>
      <dgm:spPr/>
    </dgm:pt>
    <dgm:pt modelId="{42F7F6CF-E5F0-4207-9CCD-A2E104F50750}" type="pres">
      <dgm:prSet presAssocID="{75AC0D4D-BB6E-4900-B724-02DDA8604173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A1A4462-9052-4380-852D-F6BAD48F1ED5}" srcId="{F20DEF88-B411-440E-A98A-7A2546FFFFC6}" destId="{40B4DD92-B49B-49FA-863B-FD8079D889BA}" srcOrd="0" destOrd="0" parTransId="{A82A5EB3-64F4-43BE-9905-7BE3850E85FD}" sibTransId="{6FA3066C-EE6C-4A44-A210-C1B242716D84}"/>
    <dgm:cxn modelId="{6BE60BB5-F138-4410-BC5D-4186A0E458FC}" type="presOf" srcId="{8BEF97F7-A1A2-48DA-ADCD-A2F1DC751E55}" destId="{BB997FDB-09CA-4033-93AE-A9F468F093BB}" srcOrd="0" destOrd="0" presId="urn:microsoft.com/office/officeart/2005/8/layout/vList2"/>
    <dgm:cxn modelId="{B9F86117-38CA-49B6-97EC-EFB22E21086C}" type="presOf" srcId="{F20DEF88-B411-440E-A98A-7A2546FFFFC6}" destId="{3D2033CF-9DDF-4C7B-9004-EBCDD6284F6A}" srcOrd="0" destOrd="0" presId="urn:microsoft.com/office/officeart/2005/8/layout/vList2"/>
    <dgm:cxn modelId="{0A63252F-ABEE-46C2-B2FE-2FFA00AE9F63}" srcId="{F20DEF88-B411-440E-A98A-7A2546FFFFC6}" destId="{8BEF97F7-A1A2-48DA-ADCD-A2F1DC751E55}" srcOrd="1" destOrd="0" parTransId="{2B4A9665-AD29-4AD2-A836-7E5DB046FD26}" sibTransId="{D08E7FE5-6C25-47B2-8138-98756FD28C28}"/>
    <dgm:cxn modelId="{8CA4A79D-6436-4B68-B768-FF0EF70E6A9E}" type="presOf" srcId="{75AC0D4D-BB6E-4900-B724-02DDA8604173}" destId="{42F7F6CF-E5F0-4207-9CCD-A2E104F50750}" srcOrd="0" destOrd="0" presId="urn:microsoft.com/office/officeart/2005/8/layout/vList2"/>
    <dgm:cxn modelId="{BE078F47-2C37-4F5A-8235-E18AEE80C655}" type="presOf" srcId="{40B4DD92-B49B-49FA-863B-FD8079D889BA}" destId="{EE18CEA8-B717-47DB-B740-4F04B92826F8}" srcOrd="0" destOrd="0" presId="urn:microsoft.com/office/officeart/2005/8/layout/vList2"/>
    <dgm:cxn modelId="{E87E95AD-457C-459E-B743-81B17C59F4F8}" srcId="{F20DEF88-B411-440E-A98A-7A2546FFFFC6}" destId="{75AC0D4D-BB6E-4900-B724-02DDA8604173}" srcOrd="2" destOrd="0" parTransId="{FB48B449-9510-41FF-B0B7-482683678DED}" sibTransId="{24ABAE3C-22D9-4083-BA54-351C75259B78}"/>
    <dgm:cxn modelId="{8FE9D656-7A34-48A5-9709-4D58C65AC61E}" type="presParOf" srcId="{3D2033CF-9DDF-4C7B-9004-EBCDD6284F6A}" destId="{EE18CEA8-B717-47DB-B740-4F04B92826F8}" srcOrd="0" destOrd="0" presId="urn:microsoft.com/office/officeart/2005/8/layout/vList2"/>
    <dgm:cxn modelId="{4F8B206B-A5BE-4A04-9E2B-28CCE5EA870E}" type="presParOf" srcId="{3D2033CF-9DDF-4C7B-9004-EBCDD6284F6A}" destId="{449080C7-F026-4554-9C86-02A6A9449950}" srcOrd="1" destOrd="0" presId="urn:microsoft.com/office/officeart/2005/8/layout/vList2"/>
    <dgm:cxn modelId="{4BAFCD31-9835-455B-9A3F-EC140536D2B2}" type="presParOf" srcId="{3D2033CF-9DDF-4C7B-9004-EBCDD6284F6A}" destId="{BB997FDB-09CA-4033-93AE-A9F468F093BB}" srcOrd="2" destOrd="0" presId="urn:microsoft.com/office/officeart/2005/8/layout/vList2"/>
    <dgm:cxn modelId="{17DB67B6-11F9-4FDA-9FD7-35B64C9D4253}" type="presParOf" srcId="{3D2033CF-9DDF-4C7B-9004-EBCDD6284F6A}" destId="{C7FB4FCE-DD77-4DA7-AEEF-D6BC8FE28ED6}" srcOrd="3" destOrd="0" presId="urn:microsoft.com/office/officeart/2005/8/layout/vList2"/>
    <dgm:cxn modelId="{F16C8209-AD62-4424-A174-4212BECF4E89}" type="presParOf" srcId="{3D2033CF-9DDF-4C7B-9004-EBCDD6284F6A}" destId="{42F7F6CF-E5F0-4207-9CCD-A2E104F50750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448F4C24-BBA7-4AA5-83DA-46A6BEE3FC96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64D3C5C1-46D6-4C04-9BBD-12FDB46D75F3}">
      <dgm:prSet phldrT="[Text]" custT="1"/>
      <dgm:spPr/>
      <dgm:t>
        <a:bodyPr/>
        <a:lstStyle/>
        <a:p>
          <a:r>
            <a:rPr lang="en-US" sz="2000" dirty="0" smtClean="0"/>
            <a:t>The project operator is similar to SELECT in SQL. </a:t>
          </a:r>
          <a:endParaRPr lang="en-US" sz="2000" dirty="0">
            <a:latin typeface="+mn-lt"/>
          </a:endParaRPr>
        </a:p>
      </dgm:t>
    </dgm:pt>
    <dgm:pt modelId="{00B02073-D328-4E1F-880D-1A621510056A}" type="parTrans" cxnId="{007D6359-2DCD-49A6-88F3-CD68A987324D}">
      <dgm:prSet/>
      <dgm:spPr/>
      <dgm:t>
        <a:bodyPr/>
        <a:lstStyle/>
        <a:p>
          <a:endParaRPr lang="en-US" sz="2000">
            <a:latin typeface="+mn-lt"/>
          </a:endParaRPr>
        </a:p>
      </dgm:t>
    </dgm:pt>
    <dgm:pt modelId="{AE79CEE9-127C-471A-A158-0CC8D790D6DD}" type="sibTrans" cxnId="{007D6359-2DCD-49A6-88F3-CD68A987324D}">
      <dgm:prSet/>
      <dgm:spPr/>
      <dgm:t>
        <a:bodyPr/>
        <a:lstStyle/>
        <a:p>
          <a:endParaRPr lang="en-US" sz="2000">
            <a:latin typeface="+mn-lt"/>
          </a:endParaRPr>
        </a:p>
      </dgm:t>
    </dgm:pt>
    <dgm:pt modelId="{5AC0C2F9-E929-425F-8900-EF6683065778}">
      <dgm:prSet phldrT="[Text]" custT="1"/>
      <dgm:spPr/>
      <dgm:t>
        <a:bodyPr/>
        <a:lstStyle/>
        <a:p>
          <a:r>
            <a:rPr lang="en-US" sz="2000" dirty="0" smtClean="0"/>
            <a:t>We can use this to rename the field names and select / deselect the fields to be returned, out of the grouped fields. </a:t>
          </a:r>
          <a:endParaRPr lang="en-US" sz="2000" dirty="0">
            <a:latin typeface="+mn-lt"/>
          </a:endParaRPr>
        </a:p>
      </dgm:t>
    </dgm:pt>
    <dgm:pt modelId="{509AAA84-74AD-44D2-8A87-CC6F49060FCC}" type="parTrans" cxnId="{E909FF9B-F585-4CB3-B82E-C7075170853E}">
      <dgm:prSet/>
      <dgm:spPr/>
      <dgm:t>
        <a:bodyPr/>
        <a:lstStyle/>
        <a:p>
          <a:endParaRPr lang="en-US" sz="2000">
            <a:latin typeface="+mn-lt"/>
          </a:endParaRPr>
        </a:p>
      </dgm:t>
    </dgm:pt>
    <dgm:pt modelId="{25B2A3B4-CD1C-4545-80C3-06139309F14E}" type="sibTrans" cxnId="{E909FF9B-F585-4CB3-B82E-C7075170853E}">
      <dgm:prSet/>
      <dgm:spPr/>
      <dgm:t>
        <a:bodyPr/>
        <a:lstStyle/>
        <a:p>
          <a:endParaRPr lang="en-US" sz="2000">
            <a:latin typeface="+mn-lt"/>
          </a:endParaRPr>
        </a:p>
      </dgm:t>
    </dgm:pt>
    <dgm:pt modelId="{80430997-6D81-4A98-8A7D-E62571091579}">
      <dgm:prSet phldrT="[Text]" custT="1"/>
      <dgm:spPr/>
      <dgm:t>
        <a:bodyPr/>
        <a:lstStyle/>
        <a:p>
          <a:r>
            <a:rPr lang="en-US" sz="2000" dirty="0" smtClean="0"/>
            <a:t>If we specify 0 for a field, it will NOT be sent in the pipeline to the next operator.</a:t>
          </a:r>
          <a:endParaRPr lang="en-US" sz="2000" dirty="0">
            <a:latin typeface="+mn-lt"/>
          </a:endParaRPr>
        </a:p>
      </dgm:t>
    </dgm:pt>
    <dgm:pt modelId="{658BC871-244B-4227-A495-63A3CD70F507}" type="parTrans" cxnId="{2DDE2B25-A4E3-48F6-926C-2533151F9F3B}">
      <dgm:prSet/>
      <dgm:spPr/>
      <dgm:t>
        <a:bodyPr/>
        <a:lstStyle/>
        <a:p>
          <a:endParaRPr lang="en-US" sz="2000"/>
        </a:p>
      </dgm:t>
    </dgm:pt>
    <dgm:pt modelId="{E7A64FFE-D9CB-466B-BCBC-8F738A0EB723}" type="sibTrans" cxnId="{2DDE2B25-A4E3-48F6-926C-2533151F9F3B}">
      <dgm:prSet/>
      <dgm:spPr/>
      <dgm:t>
        <a:bodyPr/>
        <a:lstStyle/>
        <a:p>
          <a:endParaRPr lang="en-US" sz="2000"/>
        </a:p>
      </dgm:t>
    </dgm:pt>
    <dgm:pt modelId="{79932BCE-9241-42FD-8FAB-7EA455051352}" type="pres">
      <dgm:prSet presAssocID="{448F4C24-BBA7-4AA5-83DA-46A6BEE3FC9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98A6EC7-1520-4C1D-A622-77DCEC54F079}" type="pres">
      <dgm:prSet presAssocID="{64D3C5C1-46D6-4C04-9BBD-12FDB46D75F3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2FADE2-A98F-4EF5-841E-76F9B6F3A9A1}" type="pres">
      <dgm:prSet presAssocID="{AE79CEE9-127C-471A-A158-0CC8D790D6DD}" presName="spacer" presStyleCnt="0"/>
      <dgm:spPr/>
    </dgm:pt>
    <dgm:pt modelId="{716E9F68-5A50-46ED-8724-1A8E173ECDB1}" type="pres">
      <dgm:prSet presAssocID="{5AC0C2F9-E929-425F-8900-EF6683065778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7469028-8F74-47D2-9F79-FBE3BE982E4C}" type="pres">
      <dgm:prSet presAssocID="{25B2A3B4-CD1C-4545-80C3-06139309F14E}" presName="spacer" presStyleCnt="0"/>
      <dgm:spPr/>
    </dgm:pt>
    <dgm:pt modelId="{B858C712-57D3-4D28-B03C-FC13C6821EE5}" type="pres">
      <dgm:prSet presAssocID="{80430997-6D81-4A98-8A7D-E62571091579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DDE2B25-A4E3-48F6-926C-2533151F9F3B}" srcId="{448F4C24-BBA7-4AA5-83DA-46A6BEE3FC96}" destId="{80430997-6D81-4A98-8A7D-E62571091579}" srcOrd="2" destOrd="0" parTransId="{658BC871-244B-4227-A495-63A3CD70F507}" sibTransId="{E7A64FFE-D9CB-466B-BCBC-8F738A0EB723}"/>
    <dgm:cxn modelId="{9EA4DF0D-0D24-4316-863B-E6DA06A48930}" type="presOf" srcId="{80430997-6D81-4A98-8A7D-E62571091579}" destId="{B858C712-57D3-4D28-B03C-FC13C6821EE5}" srcOrd="0" destOrd="0" presId="urn:microsoft.com/office/officeart/2005/8/layout/vList2"/>
    <dgm:cxn modelId="{6E75D0A8-7CB8-4CEA-B228-DA25C21F57D1}" type="presOf" srcId="{64D3C5C1-46D6-4C04-9BBD-12FDB46D75F3}" destId="{D98A6EC7-1520-4C1D-A622-77DCEC54F079}" srcOrd="0" destOrd="0" presId="urn:microsoft.com/office/officeart/2005/8/layout/vList2"/>
    <dgm:cxn modelId="{D4632F99-0C19-471C-9087-28568C4E3E9C}" type="presOf" srcId="{5AC0C2F9-E929-425F-8900-EF6683065778}" destId="{716E9F68-5A50-46ED-8724-1A8E173ECDB1}" srcOrd="0" destOrd="0" presId="urn:microsoft.com/office/officeart/2005/8/layout/vList2"/>
    <dgm:cxn modelId="{007D6359-2DCD-49A6-88F3-CD68A987324D}" srcId="{448F4C24-BBA7-4AA5-83DA-46A6BEE3FC96}" destId="{64D3C5C1-46D6-4C04-9BBD-12FDB46D75F3}" srcOrd="0" destOrd="0" parTransId="{00B02073-D328-4E1F-880D-1A621510056A}" sibTransId="{AE79CEE9-127C-471A-A158-0CC8D790D6DD}"/>
    <dgm:cxn modelId="{E909FF9B-F585-4CB3-B82E-C7075170853E}" srcId="{448F4C24-BBA7-4AA5-83DA-46A6BEE3FC96}" destId="{5AC0C2F9-E929-425F-8900-EF6683065778}" srcOrd="1" destOrd="0" parTransId="{509AAA84-74AD-44D2-8A87-CC6F49060FCC}" sibTransId="{25B2A3B4-CD1C-4545-80C3-06139309F14E}"/>
    <dgm:cxn modelId="{9522780D-3987-47F0-B884-943D2A9C740F}" type="presOf" srcId="{448F4C24-BBA7-4AA5-83DA-46A6BEE3FC96}" destId="{79932BCE-9241-42FD-8FAB-7EA455051352}" srcOrd="0" destOrd="0" presId="urn:microsoft.com/office/officeart/2005/8/layout/vList2"/>
    <dgm:cxn modelId="{7E89B6C5-CEFA-462C-B5C9-195F4C6EF5C4}" type="presParOf" srcId="{79932BCE-9241-42FD-8FAB-7EA455051352}" destId="{D98A6EC7-1520-4C1D-A622-77DCEC54F079}" srcOrd="0" destOrd="0" presId="urn:microsoft.com/office/officeart/2005/8/layout/vList2"/>
    <dgm:cxn modelId="{199BE778-3A0F-4F72-8CE3-4BD6E199261B}" type="presParOf" srcId="{79932BCE-9241-42FD-8FAB-7EA455051352}" destId="{A82FADE2-A98F-4EF5-841E-76F9B6F3A9A1}" srcOrd="1" destOrd="0" presId="urn:microsoft.com/office/officeart/2005/8/layout/vList2"/>
    <dgm:cxn modelId="{C7AC6824-A0B8-4E49-A6EF-91F871B4EAA7}" type="presParOf" srcId="{79932BCE-9241-42FD-8FAB-7EA455051352}" destId="{716E9F68-5A50-46ED-8724-1A8E173ECDB1}" srcOrd="2" destOrd="0" presId="urn:microsoft.com/office/officeart/2005/8/layout/vList2"/>
    <dgm:cxn modelId="{216CFCDF-4F00-4908-8556-55137D8F3408}" type="presParOf" srcId="{79932BCE-9241-42FD-8FAB-7EA455051352}" destId="{17469028-8F74-47D2-9F79-FBE3BE982E4C}" srcOrd="3" destOrd="0" presId="urn:microsoft.com/office/officeart/2005/8/layout/vList2"/>
    <dgm:cxn modelId="{FC30A67F-92C9-4EBF-9E6F-902D5D4F0E76}" type="presParOf" srcId="{79932BCE-9241-42FD-8FAB-7EA455051352}" destId="{B858C712-57D3-4D28-B03C-FC13C6821EE5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DC5535F-D340-4658-8A8D-E6E9F8F6CC3A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202F3ACC-7FBC-4F37-969F-D7C2AB3B11B6}">
      <dgm:prSet phldrT="[Text]" custT="1"/>
      <dgm:spPr/>
      <dgm:t>
        <a:bodyPr/>
        <a:lstStyle/>
        <a:p>
          <a:r>
            <a:rPr lang="en-US" sz="2000" dirty="0" smtClean="0"/>
            <a:t>This is similar to SQL's ORDER BY clause. To sort a particular field in descending order specify -1 and specify 1 if that field has to be sorted in ascending order.</a:t>
          </a:r>
          <a:endParaRPr lang="en-US" sz="2000" dirty="0">
            <a:latin typeface="+mn-lt"/>
          </a:endParaRPr>
        </a:p>
      </dgm:t>
    </dgm:pt>
    <dgm:pt modelId="{32BC1553-C434-4DFD-BE74-26DE9465BE05}" type="parTrans" cxnId="{822B7C23-FE50-4050-B6AD-EADDBD956CD4}">
      <dgm:prSet/>
      <dgm:spPr/>
      <dgm:t>
        <a:bodyPr/>
        <a:lstStyle/>
        <a:p>
          <a:endParaRPr lang="en-US" sz="2000">
            <a:latin typeface="+mn-lt"/>
          </a:endParaRPr>
        </a:p>
      </dgm:t>
    </dgm:pt>
    <dgm:pt modelId="{37A5E7E8-A89D-4610-BC87-1EFBA7787BF4}" type="sibTrans" cxnId="{822B7C23-FE50-4050-B6AD-EADDBD956CD4}">
      <dgm:prSet/>
      <dgm:spPr/>
      <dgm:t>
        <a:bodyPr/>
        <a:lstStyle/>
        <a:p>
          <a:endParaRPr lang="en-US" sz="2000">
            <a:latin typeface="+mn-lt"/>
          </a:endParaRPr>
        </a:p>
      </dgm:t>
    </dgm:pt>
    <dgm:pt modelId="{4F0FC024-B96B-4695-9908-4A2A866A5B16}">
      <dgm:prSet phldrT="[Text]" custT="1"/>
      <dgm:spPr/>
      <dgm:t>
        <a:bodyPr/>
        <a:lstStyle/>
        <a:p>
          <a:r>
            <a:rPr lang="en-US" sz="2000" dirty="0" smtClean="0"/>
            <a:t>Convert lastname  in Uppercase and sort in ascending order</a:t>
          </a:r>
          <a:endParaRPr lang="en-US" sz="2000" b="1" dirty="0">
            <a:latin typeface="+mn-lt"/>
          </a:endParaRPr>
        </a:p>
      </dgm:t>
    </dgm:pt>
    <dgm:pt modelId="{64A5E293-7F05-4214-9831-91C5EB097F7A}" type="parTrans" cxnId="{190FF9E4-F23B-47BB-8EBB-DA55CA5C3AB4}">
      <dgm:prSet/>
      <dgm:spPr/>
      <dgm:t>
        <a:bodyPr/>
        <a:lstStyle/>
        <a:p>
          <a:endParaRPr lang="en-US" sz="2000">
            <a:latin typeface="+mn-lt"/>
          </a:endParaRPr>
        </a:p>
      </dgm:t>
    </dgm:pt>
    <dgm:pt modelId="{039838BB-DFB3-46EE-A669-6F435114BEE7}" type="sibTrans" cxnId="{190FF9E4-F23B-47BB-8EBB-DA55CA5C3AB4}">
      <dgm:prSet/>
      <dgm:spPr/>
      <dgm:t>
        <a:bodyPr/>
        <a:lstStyle/>
        <a:p>
          <a:endParaRPr lang="en-US" sz="2000">
            <a:latin typeface="+mn-lt"/>
          </a:endParaRPr>
        </a:p>
      </dgm:t>
    </dgm:pt>
    <dgm:pt modelId="{CE0F0227-DD08-488E-A82C-02E4B3EF6C50}">
      <dgm:prSet/>
      <dgm:spPr/>
      <dgm:t>
        <a:bodyPr/>
        <a:lstStyle/>
        <a:p>
          <a:r>
            <a:rPr lang="en-US" dirty="0" smtClean="0"/>
            <a:t>&gt;db.employees.aggregate([{ $project:{lname:{$toUpper:"$lastname"},_id:0}},{$sort:{lname:1}}])	</a:t>
          </a:r>
          <a:endParaRPr lang="en-US" dirty="0"/>
        </a:p>
      </dgm:t>
    </dgm:pt>
    <dgm:pt modelId="{5965B903-1CE3-42AF-A18E-A0D99AF4DB51}" type="parTrans" cxnId="{8ACCF9B6-7BD0-432C-A829-6474C4838F4D}">
      <dgm:prSet/>
      <dgm:spPr/>
      <dgm:t>
        <a:bodyPr/>
        <a:lstStyle/>
        <a:p>
          <a:endParaRPr lang="en-US"/>
        </a:p>
      </dgm:t>
    </dgm:pt>
    <dgm:pt modelId="{FD8B067F-68BC-4DCC-ADE0-BD0BD5DF308C}" type="sibTrans" cxnId="{8ACCF9B6-7BD0-432C-A829-6474C4838F4D}">
      <dgm:prSet/>
      <dgm:spPr/>
      <dgm:t>
        <a:bodyPr/>
        <a:lstStyle/>
        <a:p>
          <a:endParaRPr lang="en-US"/>
        </a:p>
      </dgm:t>
    </dgm:pt>
    <dgm:pt modelId="{4F655254-676E-4390-B977-A25B1392C5F2}" type="pres">
      <dgm:prSet presAssocID="{0DC5535F-D340-4658-8A8D-E6E9F8F6CC3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1CA16B6-2C3C-43F4-BCC4-C0938AA6264B}" type="pres">
      <dgm:prSet presAssocID="{202F3ACC-7FBC-4F37-969F-D7C2AB3B11B6}" presName="parentText" presStyleLbl="node1" presStyleIdx="0" presStyleCnt="1" custScaleY="112526" custLinFactNeighborX="-1392" custLinFactNeighborY="-7110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3C24A93-02E9-4B3B-A4AD-3E0E91E32B38}" type="pres">
      <dgm:prSet presAssocID="{202F3ACC-7FBC-4F37-969F-D7C2AB3B11B6}" presName="childText" presStyleLbl="revTx" presStyleIdx="0" presStyleCnt="1" custLinFactNeighborY="38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0C983FC-6730-4F6E-92F4-3F6B17143EC3}" type="presOf" srcId="{4F0FC024-B96B-4695-9908-4A2A866A5B16}" destId="{33C24A93-02E9-4B3B-A4AD-3E0E91E32B38}" srcOrd="0" destOrd="0" presId="urn:microsoft.com/office/officeart/2005/8/layout/vList2"/>
    <dgm:cxn modelId="{D44BF285-96A2-4E01-98FD-84F183230938}" type="presOf" srcId="{0DC5535F-D340-4658-8A8D-E6E9F8F6CC3A}" destId="{4F655254-676E-4390-B977-A25B1392C5F2}" srcOrd="0" destOrd="0" presId="urn:microsoft.com/office/officeart/2005/8/layout/vList2"/>
    <dgm:cxn modelId="{519771A1-58E4-416C-8CF2-BA36D48C78E3}" type="presOf" srcId="{CE0F0227-DD08-488E-A82C-02E4B3EF6C50}" destId="{33C24A93-02E9-4B3B-A4AD-3E0E91E32B38}" srcOrd="0" destOrd="1" presId="urn:microsoft.com/office/officeart/2005/8/layout/vList2"/>
    <dgm:cxn modelId="{8ACCF9B6-7BD0-432C-A829-6474C4838F4D}" srcId="{202F3ACC-7FBC-4F37-969F-D7C2AB3B11B6}" destId="{CE0F0227-DD08-488E-A82C-02E4B3EF6C50}" srcOrd="1" destOrd="0" parTransId="{5965B903-1CE3-42AF-A18E-A0D99AF4DB51}" sibTransId="{FD8B067F-68BC-4DCC-ADE0-BD0BD5DF308C}"/>
    <dgm:cxn modelId="{1A29D699-D19E-427E-A727-D233524171D4}" type="presOf" srcId="{202F3ACC-7FBC-4F37-969F-D7C2AB3B11B6}" destId="{B1CA16B6-2C3C-43F4-BCC4-C0938AA6264B}" srcOrd="0" destOrd="0" presId="urn:microsoft.com/office/officeart/2005/8/layout/vList2"/>
    <dgm:cxn modelId="{822B7C23-FE50-4050-B6AD-EADDBD956CD4}" srcId="{0DC5535F-D340-4658-8A8D-E6E9F8F6CC3A}" destId="{202F3ACC-7FBC-4F37-969F-D7C2AB3B11B6}" srcOrd="0" destOrd="0" parTransId="{32BC1553-C434-4DFD-BE74-26DE9465BE05}" sibTransId="{37A5E7E8-A89D-4610-BC87-1EFBA7787BF4}"/>
    <dgm:cxn modelId="{190FF9E4-F23B-47BB-8EBB-DA55CA5C3AB4}" srcId="{202F3ACC-7FBC-4F37-969F-D7C2AB3B11B6}" destId="{4F0FC024-B96B-4695-9908-4A2A866A5B16}" srcOrd="0" destOrd="0" parTransId="{64A5E293-7F05-4214-9831-91C5EB097F7A}" sibTransId="{039838BB-DFB3-46EE-A669-6F435114BEE7}"/>
    <dgm:cxn modelId="{FF433717-EC70-451D-87D3-2E3765FAD5F8}" type="presParOf" srcId="{4F655254-676E-4390-B977-A25B1392C5F2}" destId="{B1CA16B6-2C3C-43F4-BCC4-C0938AA6264B}" srcOrd="0" destOrd="0" presId="urn:microsoft.com/office/officeart/2005/8/layout/vList2"/>
    <dgm:cxn modelId="{9EA1FF94-85F3-4253-9519-61DB3357BB9E}" type="presParOf" srcId="{4F655254-676E-4390-B977-A25B1392C5F2}" destId="{33C24A93-02E9-4B3B-A4AD-3E0E91E32B38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FFF0C9CC-4188-468F-9B78-6FD8E517EBE7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9871D364-FE95-4488-808A-0B7CDFC11EA6}">
      <dgm:prSet phldrT="[Text]" custT="1"/>
      <dgm:spPr/>
      <dgm:t>
        <a:bodyPr/>
        <a:lstStyle/>
        <a:p>
          <a:r>
            <a:rPr lang="en-US" sz="2000" dirty="0" smtClean="0"/>
            <a:t>These two operators can be used to limit the number of documents being returned. They will be more useful when we need pagination support.</a:t>
          </a:r>
          <a:endParaRPr lang="en-US" sz="2000" b="0" dirty="0"/>
        </a:p>
      </dgm:t>
    </dgm:pt>
    <dgm:pt modelId="{3BD8880C-FAFD-4037-9F79-FA17B8C8D4A4}" type="parTrans" cxnId="{EFBC7290-6231-4992-91C5-FFA2E39B7F09}">
      <dgm:prSet/>
      <dgm:spPr/>
      <dgm:t>
        <a:bodyPr/>
        <a:lstStyle/>
        <a:p>
          <a:endParaRPr lang="en-US" sz="2000" b="0"/>
        </a:p>
      </dgm:t>
    </dgm:pt>
    <dgm:pt modelId="{8F614B0C-B045-4EE7-BF3E-94B4A2760696}" type="sibTrans" cxnId="{EFBC7290-6231-4992-91C5-FFA2E39B7F09}">
      <dgm:prSet/>
      <dgm:spPr/>
      <dgm:t>
        <a:bodyPr/>
        <a:lstStyle/>
        <a:p>
          <a:endParaRPr lang="en-US" sz="2000" b="0"/>
        </a:p>
      </dgm:t>
    </dgm:pt>
    <dgm:pt modelId="{0D34FB84-1B5B-4D73-B799-E02A041730F5}" type="pres">
      <dgm:prSet presAssocID="{FFF0C9CC-4188-468F-9B78-6FD8E517EBE7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B70625D-500C-4823-8A72-C3C8472C1418}" type="pres">
      <dgm:prSet presAssocID="{9871D364-FE95-4488-808A-0B7CDFC11EA6}" presName="parentText" presStyleLbl="node1" presStyleIdx="0" presStyleCnt="1" custLinFactNeighborX="-885" custLinFactNeighborY="-7410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B9686B4-D780-4F9A-BF9C-DF07760F41CE}" type="presOf" srcId="{9871D364-FE95-4488-808A-0B7CDFC11EA6}" destId="{5B70625D-500C-4823-8A72-C3C8472C1418}" srcOrd="0" destOrd="0" presId="urn:microsoft.com/office/officeart/2005/8/layout/vList2"/>
    <dgm:cxn modelId="{66B89C86-AFCC-4214-93A3-359B5FDFC05E}" type="presOf" srcId="{FFF0C9CC-4188-468F-9B78-6FD8E517EBE7}" destId="{0D34FB84-1B5B-4D73-B799-E02A041730F5}" srcOrd="0" destOrd="0" presId="urn:microsoft.com/office/officeart/2005/8/layout/vList2"/>
    <dgm:cxn modelId="{EFBC7290-6231-4992-91C5-FFA2E39B7F09}" srcId="{FFF0C9CC-4188-468F-9B78-6FD8E517EBE7}" destId="{9871D364-FE95-4488-808A-0B7CDFC11EA6}" srcOrd="0" destOrd="0" parTransId="{3BD8880C-FAFD-4037-9F79-FA17B8C8D4A4}" sibTransId="{8F614B0C-B045-4EE7-BF3E-94B4A2760696}"/>
    <dgm:cxn modelId="{9E77803D-9113-4A3D-BE76-5EC1514CF933}" type="presParOf" srcId="{0D34FB84-1B5B-4D73-B799-E02A041730F5}" destId="{5B70625D-500C-4823-8A72-C3C8472C141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3B72795F-9FC7-47C8-8B27-E2AEEA187D1A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6E5A7F38-A778-4C51-89E4-A6F01A71959D}">
      <dgm:prSet phldrT="[Text]" custT="1"/>
      <dgm:spPr/>
      <dgm:t>
        <a:bodyPr/>
        <a:lstStyle/>
        <a:p>
          <a:r>
            <a:rPr lang="en-US" sz="2000" dirty="0" smtClean="0"/>
            <a:t>Returns the value that results from applying an expression to the first document in a group of documents that share the same group by key. Only meaningful when documents are in a defined order. </a:t>
          </a:r>
          <a:endParaRPr lang="en-US" sz="2000" dirty="0"/>
        </a:p>
      </dgm:t>
    </dgm:pt>
    <dgm:pt modelId="{0E0167C4-E044-4F98-AF3E-18F1B151F422}" type="parTrans" cxnId="{CF7C272C-BA0F-41D7-BE6E-3B2679011D00}">
      <dgm:prSet/>
      <dgm:spPr/>
      <dgm:t>
        <a:bodyPr/>
        <a:lstStyle/>
        <a:p>
          <a:endParaRPr lang="en-US" sz="2000"/>
        </a:p>
      </dgm:t>
    </dgm:pt>
    <dgm:pt modelId="{150C47AF-07BC-45D7-BD52-0ED412C9A9BC}" type="sibTrans" cxnId="{CF7C272C-BA0F-41D7-BE6E-3B2679011D00}">
      <dgm:prSet/>
      <dgm:spPr/>
      <dgm:t>
        <a:bodyPr/>
        <a:lstStyle/>
        <a:p>
          <a:endParaRPr lang="en-US" sz="2000"/>
        </a:p>
      </dgm:t>
    </dgm:pt>
    <dgm:pt modelId="{52EE0155-DEBC-4FC2-8F2A-750AA08A6E5E}">
      <dgm:prSet phldrT="[Text]" custT="1"/>
      <dgm:spPr/>
      <dgm:t>
        <a:bodyPr/>
        <a:lstStyle/>
        <a:p>
          <a:r>
            <a:rPr lang="en-US" sz="2000" dirty="0" smtClean="0"/>
            <a:t>$first is only available in the </a:t>
          </a:r>
          <a:r>
            <a:rPr lang="en-US" sz="2000" b="1" dirty="0" smtClean="0"/>
            <a:t>$group </a:t>
          </a:r>
          <a:r>
            <a:rPr lang="en-US" sz="2000" dirty="0" smtClean="0"/>
            <a:t>stage.</a:t>
          </a:r>
          <a:endParaRPr lang="en-US" sz="2000" dirty="0"/>
        </a:p>
      </dgm:t>
    </dgm:pt>
    <dgm:pt modelId="{45F45A50-6C45-4F75-A857-FAC13675D8E2}" type="parTrans" cxnId="{ED4CB789-7A93-4D17-B5ED-FF1AFA136167}">
      <dgm:prSet/>
      <dgm:spPr/>
      <dgm:t>
        <a:bodyPr/>
        <a:lstStyle/>
        <a:p>
          <a:endParaRPr lang="en-US" sz="2000"/>
        </a:p>
      </dgm:t>
    </dgm:pt>
    <dgm:pt modelId="{BA3F374F-1741-46E3-B09A-141D387C99B1}" type="sibTrans" cxnId="{ED4CB789-7A93-4D17-B5ED-FF1AFA136167}">
      <dgm:prSet/>
      <dgm:spPr/>
      <dgm:t>
        <a:bodyPr/>
        <a:lstStyle/>
        <a:p>
          <a:endParaRPr lang="en-US" sz="2000"/>
        </a:p>
      </dgm:t>
    </dgm:pt>
    <dgm:pt modelId="{01404244-0987-44FD-9034-A85EC31FDE43}" type="pres">
      <dgm:prSet presAssocID="{3B72795F-9FC7-47C8-8B27-E2AEEA187D1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E4AB66C-9B0A-4F1E-9777-9062BA1967C6}" type="pres">
      <dgm:prSet presAssocID="{6E5A7F38-A778-4C51-89E4-A6F01A71959D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04F9C1-C495-4D4B-99A4-A7E00F2FE087}" type="pres">
      <dgm:prSet presAssocID="{150C47AF-07BC-45D7-BD52-0ED412C9A9BC}" presName="spacer" presStyleCnt="0"/>
      <dgm:spPr/>
    </dgm:pt>
    <dgm:pt modelId="{FB556C4C-11A7-40CB-82B6-C34E6E41A825}" type="pres">
      <dgm:prSet presAssocID="{52EE0155-DEBC-4FC2-8F2A-750AA08A6E5E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FFFC089-7653-481C-8161-C1AF3B8D941C}" type="presOf" srcId="{6E5A7F38-A778-4C51-89E4-A6F01A71959D}" destId="{0E4AB66C-9B0A-4F1E-9777-9062BA1967C6}" srcOrd="0" destOrd="0" presId="urn:microsoft.com/office/officeart/2005/8/layout/vList2"/>
    <dgm:cxn modelId="{CF7C272C-BA0F-41D7-BE6E-3B2679011D00}" srcId="{3B72795F-9FC7-47C8-8B27-E2AEEA187D1A}" destId="{6E5A7F38-A778-4C51-89E4-A6F01A71959D}" srcOrd="0" destOrd="0" parTransId="{0E0167C4-E044-4F98-AF3E-18F1B151F422}" sibTransId="{150C47AF-07BC-45D7-BD52-0ED412C9A9BC}"/>
    <dgm:cxn modelId="{ED4CB789-7A93-4D17-B5ED-FF1AFA136167}" srcId="{3B72795F-9FC7-47C8-8B27-E2AEEA187D1A}" destId="{52EE0155-DEBC-4FC2-8F2A-750AA08A6E5E}" srcOrd="1" destOrd="0" parTransId="{45F45A50-6C45-4F75-A857-FAC13675D8E2}" sibTransId="{BA3F374F-1741-46E3-B09A-141D387C99B1}"/>
    <dgm:cxn modelId="{518EAACE-400C-4A15-84E1-4CC66F6D9EB9}" type="presOf" srcId="{52EE0155-DEBC-4FC2-8F2A-750AA08A6E5E}" destId="{FB556C4C-11A7-40CB-82B6-C34E6E41A825}" srcOrd="0" destOrd="0" presId="urn:microsoft.com/office/officeart/2005/8/layout/vList2"/>
    <dgm:cxn modelId="{9A43872E-ED73-4DDB-A462-591D324B29B7}" type="presOf" srcId="{3B72795F-9FC7-47C8-8B27-E2AEEA187D1A}" destId="{01404244-0987-44FD-9034-A85EC31FDE43}" srcOrd="0" destOrd="0" presId="urn:microsoft.com/office/officeart/2005/8/layout/vList2"/>
    <dgm:cxn modelId="{D20902B4-2A5D-4E58-A47E-A5704AE5C060}" type="presParOf" srcId="{01404244-0987-44FD-9034-A85EC31FDE43}" destId="{0E4AB66C-9B0A-4F1E-9777-9062BA1967C6}" srcOrd="0" destOrd="0" presId="urn:microsoft.com/office/officeart/2005/8/layout/vList2"/>
    <dgm:cxn modelId="{B79A5141-336B-460A-9096-4EBC2555DDBE}" type="presParOf" srcId="{01404244-0987-44FD-9034-A85EC31FDE43}" destId="{4604F9C1-C495-4D4B-99A4-A7E00F2FE087}" srcOrd="1" destOrd="0" presId="urn:microsoft.com/office/officeart/2005/8/layout/vList2"/>
    <dgm:cxn modelId="{847F33C1-3256-48A1-856F-42FC5E7B1B3A}" type="presParOf" srcId="{01404244-0987-44FD-9034-A85EC31FDE43}" destId="{FB556C4C-11A7-40CB-82B6-C34E6E41A825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D70A90BF-B359-4FE4-830E-073F1C0ADD30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2627CA6E-E238-46FB-BE2C-62BB952C277B}">
      <dgm:prSet phldrT="[Text]" custT="1"/>
      <dgm:spPr/>
      <dgm:t>
        <a:bodyPr/>
        <a:lstStyle/>
        <a:p>
          <a:r>
            <a:rPr lang="en-US" sz="2000" dirty="0" smtClean="0"/>
            <a:t>Grouping the documents by the item field, the following operation uses the $first accumulator to compute the first sales date for each item.</a:t>
          </a:r>
          <a:endParaRPr lang="en-US" sz="2000" dirty="0"/>
        </a:p>
      </dgm:t>
    </dgm:pt>
    <dgm:pt modelId="{FC531343-1981-451F-BD0B-FEDC8675C638}" type="parTrans" cxnId="{8F5FA3D4-8703-41B7-AD51-B76ACB171681}">
      <dgm:prSet/>
      <dgm:spPr/>
      <dgm:t>
        <a:bodyPr/>
        <a:lstStyle/>
        <a:p>
          <a:endParaRPr lang="en-US" sz="2000"/>
        </a:p>
      </dgm:t>
    </dgm:pt>
    <dgm:pt modelId="{BBF1D6C3-3609-4EDA-A962-B3EDEAFF7202}" type="sibTrans" cxnId="{8F5FA3D4-8703-41B7-AD51-B76ACB171681}">
      <dgm:prSet/>
      <dgm:spPr/>
      <dgm:t>
        <a:bodyPr/>
        <a:lstStyle/>
        <a:p>
          <a:endParaRPr lang="en-US" sz="2000"/>
        </a:p>
      </dgm:t>
    </dgm:pt>
    <dgm:pt modelId="{5F186DF7-2AB7-4275-9C00-D6969381A41E}">
      <dgm:prSet phldrT="[Text]" custT="1"/>
      <dgm:spPr/>
      <dgm:t>
        <a:bodyPr/>
        <a:lstStyle/>
        <a:p>
          <a:endParaRPr lang="en-US" sz="2000" dirty="0"/>
        </a:p>
      </dgm:t>
    </dgm:pt>
    <dgm:pt modelId="{20EDBE90-F000-4FA3-80B0-B51C9CA44B84}" type="parTrans" cxnId="{438B55AD-3A89-488E-B776-CBA6848C1CAE}">
      <dgm:prSet/>
      <dgm:spPr/>
      <dgm:t>
        <a:bodyPr/>
        <a:lstStyle/>
        <a:p>
          <a:endParaRPr lang="en-US" sz="2000"/>
        </a:p>
      </dgm:t>
    </dgm:pt>
    <dgm:pt modelId="{E154CC49-089C-4CEE-B252-1F5622405CA5}" type="sibTrans" cxnId="{438B55AD-3A89-488E-B776-CBA6848C1CAE}">
      <dgm:prSet/>
      <dgm:spPr/>
      <dgm:t>
        <a:bodyPr/>
        <a:lstStyle/>
        <a:p>
          <a:endParaRPr lang="en-US" sz="2000"/>
        </a:p>
      </dgm:t>
    </dgm:pt>
    <dgm:pt modelId="{0087B2A6-5B0B-4864-B01B-30B3DAD97DC2}" type="pres">
      <dgm:prSet presAssocID="{D70A90BF-B359-4FE4-830E-073F1C0ADD3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5056495-D3DA-4434-AF8B-972CEDA597F2}" type="pres">
      <dgm:prSet presAssocID="{2627CA6E-E238-46FB-BE2C-62BB952C277B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310D79-749C-48E4-ACD3-61075FDF411A}" type="pres">
      <dgm:prSet presAssocID="{BBF1D6C3-3609-4EDA-A962-B3EDEAFF7202}" presName="spacer" presStyleCnt="0"/>
      <dgm:spPr/>
    </dgm:pt>
    <dgm:pt modelId="{DB6A1195-CCF9-45A7-A0F0-9272A302AFCA}" type="pres">
      <dgm:prSet presAssocID="{5F186DF7-2AB7-4275-9C00-D6969381A41E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F5FA3D4-8703-41B7-AD51-B76ACB171681}" srcId="{D70A90BF-B359-4FE4-830E-073F1C0ADD30}" destId="{2627CA6E-E238-46FB-BE2C-62BB952C277B}" srcOrd="0" destOrd="0" parTransId="{FC531343-1981-451F-BD0B-FEDC8675C638}" sibTransId="{BBF1D6C3-3609-4EDA-A962-B3EDEAFF7202}"/>
    <dgm:cxn modelId="{B6A4670A-4EA8-4831-901E-61C54F08104E}" type="presOf" srcId="{D70A90BF-B359-4FE4-830E-073F1C0ADD30}" destId="{0087B2A6-5B0B-4864-B01B-30B3DAD97DC2}" srcOrd="0" destOrd="0" presId="urn:microsoft.com/office/officeart/2005/8/layout/vList2"/>
    <dgm:cxn modelId="{0BE145B7-A585-41B0-8A51-BCC9FE053F21}" type="presOf" srcId="{2627CA6E-E238-46FB-BE2C-62BB952C277B}" destId="{55056495-D3DA-4434-AF8B-972CEDA597F2}" srcOrd="0" destOrd="0" presId="urn:microsoft.com/office/officeart/2005/8/layout/vList2"/>
    <dgm:cxn modelId="{438B55AD-3A89-488E-B776-CBA6848C1CAE}" srcId="{D70A90BF-B359-4FE4-830E-073F1C0ADD30}" destId="{5F186DF7-2AB7-4275-9C00-D6969381A41E}" srcOrd="1" destOrd="0" parTransId="{20EDBE90-F000-4FA3-80B0-B51C9CA44B84}" sibTransId="{E154CC49-089C-4CEE-B252-1F5622405CA5}"/>
    <dgm:cxn modelId="{1810D88E-12D7-4F92-9B09-6A045C619E87}" type="presOf" srcId="{5F186DF7-2AB7-4275-9C00-D6969381A41E}" destId="{DB6A1195-CCF9-45A7-A0F0-9272A302AFCA}" srcOrd="0" destOrd="0" presId="urn:microsoft.com/office/officeart/2005/8/layout/vList2"/>
    <dgm:cxn modelId="{AA368C9E-B18D-4D40-BBE3-1434031C9286}" type="presParOf" srcId="{0087B2A6-5B0B-4864-B01B-30B3DAD97DC2}" destId="{55056495-D3DA-4434-AF8B-972CEDA597F2}" srcOrd="0" destOrd="0" presId="urn:microsoft.com/office/officeart/2005/8/layout/vList2"/>
    <dgm:cxn modelId="{CDA94E39-09BF-494A-8BF0-2AFC4338DF99}" type="presParOf" srcId="{0087B2A6-5B0B-4864-B01B-30B3DAD97DC2}" destId="{8B310D79-749C-48E4-ACD3-61075FDF411A}" srcOrd="1" destOrd="0" presId="urn:microsoft.com/office/officeart/2005/8/layout/vList2"/>
    <dgm:cxn modelId="{40282B4A-AD0A-4E68-BAD3-ED2B2CB287A5}" type="presParOf" srcId="{0087B2A6-5B0B-4864-B01B-30B3DAD97DC2}" destId="{DB6A1195-CCF9-45A7-A0F0-9272A302AFCA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6B1D90D6-53A1-4828-9BEA-A4AEDF40584D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EDBD8236-7B7C-4523-B119-C4C641F3C2F3}">
      <dgm:prSet phldrT="[Text]" custT="1"/>
      <dgm:spPr/>
      <dgm:t>
        <a:bodyPr/>
        <a:lstStyle/>
        <a:p>
          <a:r>
            <a:rPr lang="en-US" sz="2000" dirty="0" smtClean="0"/>
            <a:t>$last returns the value that results from applying an expression to the last document in a group of documents that share the same group by a field. </a:t>
          </a:r>
          <a:endParaRPr lang="en-US" sz="2000" dirty="0"/>
        </a:p>
      </dgm:t>
    </dgm:pt>
    <dgm:pt modelId="{635B25AC-216D-44B7-A951-C8F60574D8CB}" type="parTrans" cxnId="{4661233C-F136-46DE-B80D-C9EF3D715632}">
      <dgm:prSet/>
      <dgm:spPr/>
      <dgm:t>
        <a:bodyPr/>
        <a:lstStyle/>
        <a:p>
          <a:endParaRPr lang="en-US" sz="2000"/>
        </a:p>
      </dgm:t>
    </dgm:pt>
    <dgm:pt modelId="{2C35F471-8351-4329-838A-D5247FA01C79}" type="sibTrans" cxnId="{4661233C-F136-46DE-B80D-C9EF3D715632}">
      <dgm:prSet/>
      <dgm:spPr/>
      <dgm:t>
        <a:bodyPr/>
        <a:lstStyle/>
        <a:p>
          <a:endParaRPr lang="en-US" sz="2000"/>
        </a:p>
      </dgm:t>
    </dgm:pt>
    <dgm:pt modelId="{2563CA67-968C-48BB-B006-C334C23BFB86}">
      <dgm:prSet phldrT="[Text]" custT="1"/>
      <dgm:spPr/>
      <dgm:t>
        <a:bodyPr/>
        <a:lstStyle/>
        <a:p>
          <a:r>
            <a:rPr lang="en-US" sz="2000" dirty="0" smtClean="0"/>
            <a:t>Only meaningful when documents are in a defined order.</a:t>
          </a:r>
          <a:endParaRPr lang="en-US" sz="2000" dirty="0"/>
        </a:p>
      </dgm:t>
    </dgm:pt>
    <dgm:pt modelId="{12FB9A3A-7F28-4EF2-BE4E-43D2D484B020}" type="parTrans" cxnId="{B1D9CAA2-70EE-4C42-8C2E-E51798283A1A}">
      <dgm:prSet/>
      <dgm:spPr/>
      <dgm:t>
        <a:bodyPr/>
        <a:lstStyle/>
        <a:p>
          <a:endParaRPr lang="en-US" sz="2000"/>
        </a:p>
      </dgm:t>
    </dgm:pt>
    <dgm:pt modelId="{BEAC5DB7-EC54-4FBD-94DE-A36ED3ADC856}" type="sibTrans" cxnId="{B1D9CAA2-70EE-4C42-8C2E-E51798283A1A}">
      <dgm:prSet/>
      <dgm:spPr/>
      <dgm:t>
        <a:bodyPr/>
        <a:lstStyle/>
        <a:p>
          <a:endParaRPr lang="en-US" sz="2000"/>
        </a:p>
      </dgm:t>
    </dgm:pt>
    <dgm:pt modelId="{5A4AC4AF-6013-44EC-99FA-2FFC3E00FBB9}">
      <dgm:prSet phldrT="[Text]" custT="1"/>
      <dgm:spPr/>
      <dgm:t>
        <a:bodyPr/>
        <a:lstStyle/>
        <a:p>
          <a:r>
            <a:rPr lang="en-US" sz="2000" dirty="0" smtClean="0"/>
            <a:t>$last is only available in the </a:t>
          </a:r>
          <a:r>
            <a:rPr lang="en-US" sz="2000" b="1" dirty="0" smtClean="0"/>
            <a:t>$group </a:t>
          </a:r>
          <a:r>
            <a:rPr lang="en-US" sz="2000" dirty="0" smtClean="0"/>
            <a:t>stage.</a:t>
          </a:r>
          <a:endParaRPr lang="en-US" sz="2000" dirty="0"/>
        </a:p>
      </dgm:t>
    </dgm:pt>
    <dgm:pt modelId="{58E8FF76-0C70-4175-84BB-9C7248975592}" type="parTrans" cxnId="{C975B0B4-268B-48FC-80C0-2638A76C348B}">
      <dgm:prSet/>
      <dgm:spPr/>
      <dgm:t>
        <a:bodyPr/>
        <a:lstStyle/>
        <a:p>
          <a:endParaRPr lang="en-US" sz="2000"/>
        </a:p>
      </dgm:t>
    </dgm:pt>
    <dgm:pt modelId="{C9139EEF-3918-4D4C-9E6C-12E644DF7DE6}" type="sibTrans" cxnId="{C975B0B4-268B-48FC-80C0-2638A76C348B}">
      <dgm:prSet/>
      <dgm:spPr/>
      <dgm:t>
        <a:bodyPr/>
        <a:lstStyle/>
        <a:p>
          <a:endParaRPr lang="en-US" sz="2000"/>
        </a:p>
      </dgm:t>
    </dgm:pt>
    <dgm:pt modelId="{0E4A46B8-D23F-47B4-96CE-8F15E91DD89F}" type="pres">
      <dgm:prSet presAssocID="{6B1D90D6-53A1-4828-9BEA-A4AEDF40584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E36AD66-72FB-4075-8779-D059FAAD0196}" type="pres">
      <dgm:prSet presAssocID="{EDBD8236-7B7C-4523-B119-C4C641F3C2F3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44E764-6868-48ED-9F14-059711F0CE9E}" type="pres">
      <dgm:prSet presAssocID="{2C35F471-8351-4329-838A-D5247FA01C79}" presName="spacer" presStyleCnt="0"/>
      <dgm:spPr/>
    </dgm:pt>
    <dgm:pt modelId="{9DD1ABF7-4B36-451C-AED3-C2027B15A9A7}" type="pres">
      <dgm:prSet presAssocID="{2563CA67-968C-48BB-B006-C334C23BFB8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2E3615-0058-4528-96EF-14E638DAC6AE}" type="pres">
      <dgm:prSet presAssocID="{BEAC5DB7-EC54-4FBD-94DE-A36ED3ADC856}" presName="spacer" presStyleCnt="0"/>
      <dgm:spPr/>
    </dgm:pt>
    <dgm:pt modelId="{A8FA6FB6-F25E-4605-B9EF-BBA882D5E378}" type="pres">
      <dgm:prSet presAssocID="{5A4AC4AF-6013-44EC-99FA-2FFC3E00FBB9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A2CE845-2996-4AC1-BC5F-17E871F9A806}" type="presOf" srcId="{2563CA67-968C-48BB-B006-C334C23BFB86}" destId="{9DD1ABF7-4B36-451C-AED3-C2027B15A9A7}" srcOrd="0" destOrd="0" presId="urn:microsoft.com/office/officeart/2005/8/layout/vList2"/>
    <dgm:cxn modelId="{4661233C-F136-46DE-B80D-C9EF3D715632}" srcId="{6B1D90D6-53A1-4828-9BEA-A4AEDF40584D}" destId="{EDBD8236-7B7C-4523-B119-C4C641F3C2F3}" srcOrd="0" destOrd="0" parTransId="{635B25AC-216D-44B7-A951-C8F60574D8CB}" sibTransId="{2C35F471-8351-4329-838A-D5247FA01C79}"/>
    <dgm:cxn modelId="{C975B0B4-268B-48FC-80C0-2638A76C348B}" srcId="{6B1D90D6-53A1-4828-9BEA-A4AEDF40584D}" destId="{5A4AC4AF-6013-44EC-99FA-2FFC3E00FBB9}" srcOrd="2" destOrd="0" parTransId="{58E8FF76-0C70-4175-84BB-9C7248975592}" sibTransId="{C9139EEF-3918-4D4C-9E6C-12E644DF7DE6}"/>
    <dgm:cxn modelId="{99A6F6C9-E534-4A39-87FE-4EB8F70B009F}" type="presOf" srcId="{6B1D90D6-53A1-4828-9BEA-A4AEDF40584D}" destId="{0E4A46B8-D23F-47B4-96CE-8F15E91DD89F}" srcOrd="0" destOrd="0" presId="urn:microsoft.com/office/officeart/2005/8/layout/vList2"/>
    <dgm:cxn modelId="{22F7DC20-7B79-4910-BE50-74F859360956}" type="presOf" srcId="{EDBD8236-7B7C-4523-B119-C4C641F3C2F3}" destId="{DE36AD66-72FB-4075-8779-D059FAAD0196}" srcOrd="0" destOrd="0" presId="urn:microsoft.com/office/officeart/2005/8/layout/vList2"/>
    <dgm:cxn modelId="{B1D9CAA2-70EE-4C42-8C2E-E51798283A1A}" srcId="{6B1D90D6-53A1-4828-9BEA-A4AEDF40584D}" destId="{2563CA67-968C-48BB-B006-C334C23BFB86}" srcOrd="1" destOrd="0" parTransId="{12FB9A3A-7F28-4EF2-BE4E-43D2D484B020}" sibTransId="{BEAC5DB7-EC54-4FBD-94DE-A36ED3ADC856}"/>
    <dgm:cxn modelId="{510D1440-9606-4640-BAC0-31251393ED3A}" type="presOf" srcId="{5A4AC4AF-6013-44EC-99FA-2FFC3E00FBB9}" destId="{A8FA6FB6-F25E-4605-B9EF-BBA882D5E378}" srcOrd="0" destOrd="0" presId="urn:microsoft.com/office/officeart/2005/8/layout/vList2"/>
    <dgm:cxn modelId="{696D7A33-254D-4E80-9A2E-F25BDC8FC0EB}" type="presParOf" srcId="{0E4A46B8-D23F-47B4-96CE-8F15E91DD89F}" destId="{DE36AD66-72FB-4075-8779-D059FAAD0196}" srcOrd="0" destOrd="0" presId="urn:microsoft.com/office/officeart/2005/8/layout/vList2"/>
    <dgm:cxn modelId="{563D57AA-2B43-4736-9759-B4E1E713929F}" type="presParOf" srcId="{0E4A46B8-D23F-47B4-96CE-8F15E91DD89F}" destId="{A844E764-6868-48ED-9F14-059711F0CE9E}" srcOrd="1" destOrd="0" presId="urn:microsoft.com/office/officeart/2005/8/layout/vList2"/>
    <dgm:cxn modelId="{633C6ECA-810A-4BDB-BD28-AE4579EB9447}" type="presParOf" srcId="{0E4A46B8-D23F-47B4-96CE-8F15E91DD89F}" destId="{9DD1ABF7-4B36-451C-AED3-C2027B15A9A7}" srcOrd="2" destOrd="0" presId="urn:microsoft.com/office/officeart/2005/8/layout/vList2"/>
    <dgm:cxn modelId="{BF55B2F9-3209-49A6-9A10-1082DF552646}" type="presParOf" srcId="{0E4A46B8-D23F-47B4-96CE-8F15E91DD89F}" destId="{1F2E3615-0058-4528-96EF-14E638DAC6AE}" srcOrd="3" destOrd="0" presId="urn:microsoft.com/office/officeart/2005/8/layout/vList2"/>
    <dgm:cxn modelId="{E76A6367-AD5B-440B-98BB-AF13B5AA2CA3}" type="presParOf" srcId="{0E4A46B8-D23F-47B4-96CE-8F15E91DD89F}" destId="{A8FA6FB6-F25E-4605-B9EF-BBA882D5E378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E3F8661E-E6EA-446B-81B3-13C4D9BC6E5F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2BA9B61B-26FD-4744-A5A5-592CEB23E23D}">
      <dgm:prSet phldrT="[Text]" custT="1"/>
      <dgm:spPr/>
      <dgm:t>
        <a:bodyPr/>
        <a:lstStyle/>
        <a:p>
          <a:r>
            <a:rPr lang="en-US" sz="2000" dirty="0" smtClean="0"/>
            <a:t>The following operation first sorts the documents by item and date, and then in the following </a:t>
          </a:r>
          <a:r>
            <a:rPr lang="en-US" sz="2000" b="1" dirty="0" smtClean="0"/>
            <a:t>$group </a:t>
          </a:r>
          <a:r>
            <a:rPr lang="en-US" sz="2000" dirty="0" smtClean="0"/>
            <a:t>stage, groups the now sorted documents by the item field and uses the $last accumulator to compute the last sales date for each item:</a:t>
          </a:r>
          <a:endParaRPr lang="en-US" sz="2000" dirty="0"/>
        </a:p>
      </dgm:t>
    </dgm:pt>
    <dgm:pt modelId="{334DC5BB-B98A-4E51-84DB-45D869F223C3}" type="parTrans" cxnId="{3FB70D24-597A-4E29-AE71-DDCE205091AD}">
      <dgm:prSet/>
      <dgm:spPr/>
      <dgm:t>
        <a:bodyPr/>
        <a:lstStyle/>
        <a:p>
          <a:endParaRPr lang="en-US" sz="2000"/>
        </a:p>
      </dgm:t>
    </dgm:pt>
    <dgm:pt modelId="{56020D63-2264-4B81-AE19-797F38BBDFCB}" type="sibTrans" cxnId="{3FB70D24-597A-4E29-AE71-DDCE205091AD}">
      <dgm:prSet/>
      <dgm:spPr/>
      <dgm:t>
        <a:bodyPr/>
        <a:lstStyle/>
        <a:p>
          <a:endParaRPr lang="en-US" sz="2000"/>
        </a:p>
      </dgm:t>
    </dgm:pt>
    <dgm:pt modelId="{B033D5C5-6D6F-41B8-886C-BBA62B361A89}">
      <dgm:prSet phldrT="[Text]" custT="1"/>
      <dgm:spPr/>
      <dgm:t>
        <a:bodyPr/>
        <a:lstStyle/>
        <a:p>
          <a:endParaRPr lang="en-US" sz="2000" dirty="0"/>
        </a:p>
      </dgm:t>
    </dgm:pt>
    <dgm:pt modelId="{A22FDB33-7892-44A5-9541-7CC40185DB81}" type="parTrans" cxnId="{AC8F2ABA-FC4A-4380-AFDF-16538237CCDC}">
      <dgm:prSet/>
      <dgm:spPr/>
      <dgm:t>
        <a:bodyPr/>
        <a:lstStyle/>
        <a:p>
          <a:endParaRPr lang="en-US" sz="2000"/>
        </a:p>
      </dgm:t>
    </dgm:pt>
    <dgm:pt modelId="{273EC875-285C-42EA-8C4C-B88CAE7FF926}" type="sibTrans" cxnId="{AC8F2ABA-FC4A-4380-AFDF-16538237CCDC}">
      <dgm:prSet/>
      <dgm:spPr/>
      <dgm:t>
        <a:bodyPr/>
        <a:lstStyle/>
        <a:p>
          <a:endParaRPr lang="en-US" sz="2000"/>
        </a:p>
      </dgm:t>
    </dgm:pt>
    <dgm:pt modelId="{35BB027D-89DC-43A5-BEBE-7EE6F514FF96}" type="pres">
      <dgm:prSet presAssocID="{E3F8661E-E6EA-446B-81B3-13C4D9BC6E5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8C7BD7B-CD03-4B7C-A8EC-0B37F0506D06}" type="pres">
      <dgm:prSet presAssocID="{2BA9B61B-26FD-4744-A5A5-592CEB23E23D}" presName="parentText" presStyleLbl="node1" presStyleIdx="0" presStyleCnt="1" custScaleY="12061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8E3F98-9910-4230-BD49-BD098A5E17C3}" type="pres">
      <dgm:prSet presAssocID="{2BA9B61B-26FD-4744-A5A5-592CEB23E23D}" presName="childText" presStyleLbl="revTx" presStyleIdx="0" presStyleCnt="1" custLinFactNeighborY="898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C8F2ABA-FC4A-4380-AFDF-16538237CCDC}" srcId="{2BA9B61B-26FD-4744-A5A5-592CEB23E23D}" destId="{B033D5C5-6D6F-41B8-886C-BBA62B361A89}" srcOrd="0" destOrd="0" parTransId="{A22FDB33-7892-44A5-9541-7CC40185DB81}" sibTransId="{273EC875-285C-42EA-8C4C-B88CAE7FF926}"/>
    <dgm:cxn modelId="{686DD424-B554-4837-A7FF-FF3699357915}" type="presOf" srcId="{E3F8661E-E6EA-446B-81B3-13C4D9BC6E5F}" destId="{35BB027D-89DC-43A5-BEBE-7EE6F514FF96}" srcOrd="0" destOrd="0" presId="urn:microsoft.com/office/officeart/2005/8/layout/vList2"/>
    <dgm:cxn modelId="{C1D9A154-BB4D-4A2E-A7CA-173D8FC57B4D}" type="presOf" srcId="{B033D5C5-6D6F-41B8-886C-BBA62B361A89}" destId="{C18E3F98-9910-4230-BD49-BD098A5E17C3}" srcOrd="0" destOrd="0" presId="urn:microsoft.com/office/officeart/2005/8/layout/vList2"/>
    <dgm:cxn modelId="{A6483AB1-21A7-4F7B-AF19-E8D3104AED75}" type="presOf" srcId="{2BA9B61B-26FD-4744-A5A5-592CEB23E23D}" destId="{A8C7BD7B-CD03-4B7C-A8EC-0B37F0506D06}" srcOrd="0" destOrd="0" presId="urn:microsoft.com/office/officeart/2005/8/layout/vList2"/>
    <dgm:cxn modelId="{3FB70D24-597A-4E29-AE71-DDCE205091AD}" srcId="{E3F8661E-E6EA-446B-81B3-13C4D9BC6E5F}" destId="{2BA9B61B-26FD-4744-A5A5-592CEB23E23D}" srcOrd="0" destOrd="0" parTransId="{334DC5BB-B98A-4E51-84DB-45D869F223C3}" sibTransId="{56020D63-2264-4B81-AE19-797F38BBDFCB}"/>
    <dgm:cxn modelId="{4790EA85-9698-493A-8CA1-535BC31DD162}" type="presParOf" srcId="{35BB027D-89DC-43A5-BEBE-7EE6F514FF96}" destId="{A8C7BD7B-CD03-4B7C-A8EC-0B37F0506D06}" srcOrd="0" destOrd="0" presId="urn:microsoft.com/office/officeart/2005/8/layout/vList2"/>
    <dgm:cxn modelId="{A8299A51-D117-4972-8258-77785056D310}" type="presParOf" srcId="{35BB027D-89DC-43A5-BEBE-7EE6F514FF96}" destId="{C18E3F98-9910-4230-BD49-BD098A5E17C3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48752D52-381A-4414-857E-E05B504ED5F1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DA4EE0CA-E6BC-4EA0-B521-9FC501C0401C}">
      <dgm:prSet phldrT="[Text]" custT="1"/>
      <dgm:spPr/>
      <dgm:t>
        <a:bodyPr/>
        <a:lstStyle/>
        <a:p>
          <a:r>
            <a:rPr lang="en-US" sz="2000" dirty="0" smtClean="0"/>
            <a:t>Calculates and returns the sum of numeric values. $sum ignores non-numeric values.</a:t>
          </a:r>
          <a:endParaRPr lang="en-US" sz="2000" dirty="0"/>
        </a:p>
      </dgm:t>
    </dgm:pt>
    <dgm:pt modelId="{EE481794-BDE4-4008-80A2-6B8FE06434C9}" type="parTrans" cxnId="{9E4A2287-5A03-4669-A5C6-AAF59CA40888}">
      <dgm:prSet/>
      <dgm:spPr/>
      <dgm:t>
        <a:bodyPr/>
        <a:lstStyle/>
        <a:p>
          <a:endParaRPr lang="en-US" sz="2000"/>
        </a:p>
      </dgm:t>
    </dgm:pt>
    <dgm:pt modelId="{D60975A5-C3FB-46D6-9060-EDF760D6CA65}" type="sibTrans" cxnId="{9E4A2287-5A03-4669-A5C6-AAF59CA40888}">
      <dgm:prSet/>
      <dgm:spPr/>
      <dgm:t>
        <a:bodyPr/>
        <a:lstStyle/>
        <a:p>
          <a:endParaRPr lang="en-US" sz="2000"/>
        </a:p>
      </dgm:t>
    </dgm:pt>
    <dgm:pt modelId="{EF0A53FB-A458-4934-A3D0-A6E71FBE57B6}">
      <dgm:prSet phldrT="[Text]" custT="1"/>
      <dgm:spPr/>
      <dgm:t>
        <a:bodyPr/>
        <a:lstStyle/>
        <a:p>
          <a:r>
            <a:rPr lang="en-US" sz="2000" dirty="0" smtClean="0"/>
            <a:t>When used in the </a:t>
          </a:r>
          <a:r>
            <a:rPr lang="en-US" sz="2000" b="1" dirty="0" smtClean="0"/>
            <a:t>$group </a:t>
          </a:r>
          <a:r>
            <a:rPr lang="en-US" sz="2000" dirty="0" smtClean="0"/>
            <a:t>stage, $sum has the following syntax and returns the collective sum of all the numeric values that result from applying a specified expression to each document in a group of documents that share the same group by key.</a:t>
          </a:r>
          <a:endParaRPr lang="en-US" sz="2000" dirty="0"/>
        </a:p>
      </dgm:t>
    </dgm:pt>
    <dgm:pt modelId="{3C4CBBE7-F393-43BC-963D-5C86455331C4}" type="parTrans" cxnId="{12E6480A-C2A2-411C-8341-F5FB287F42D7}">
      <dgm:prSet/>
      <dgm:spPr/>
      <dgm:t>
        <a:bodyPr/>
        <a:lstStyle/>
        <a:p>
          <a:endParaRPr lang="en-US" sz="2000"/>
        </a:p>
      </dgm:t>
    </dgm:pt>
    <dgm:pt modelId="{F5401443-2817-4AB6-A478-34B7228B2083}" type="sibTrans" cxnId="{12E6480A-C2A2-411C-8341-F5FB287F42D7}">
      <dgm:prSet/>
      <dgm:spPr/>
      <dgm:t>
        <a:bodyPr/>
        <a:lstStyle/>
        <a:p>
          <a:endParaRPr lang="en-US" sz="2000"/>
        </a:p>
      </dgm:t>
    </dgm:pt>
    <dgm:pt modelId="{D3B9D325-9C34-414E-BF54-E1D95ED3B716}" type="pres">
      <dgm:prSet presAssocID="{48752D52-381A-4414-857E-E05B504ED5F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A85AD99-62B1-4B43-BB8F-685D39F59356}" type="pres">
      <dgm:prSet presAssocID="{DA4EE0CA-E6BC-4EA0-B521-9FC501C0401C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3FD0152-24A0-4B48-9B0B-7DEEB7422FAF}" type="pres">
      <dgm:prSet presAssocID="{D60975A5-C3FB-46D6-9060-EDF760D6CA65}" presName="spacer" presStyleCnt="0"/>
      <dgm:spPr/>
    </dgm:pt>
    <dgm:pt modelId="{5472861D-AAA9-4826-A7BE-03AE4A147649}" type="pres">
      <dgm:prSet presAssocID="{EF0A53FB-A458-4934-A3D0-A6E71FBE57B6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709BC0A-6003-4DDB-A722-41C86E3013BF}" type="presOf" srcId="{DA4EE0CA-E6BC-4EA0-B521-9FC501C0401C}" destId="{9A85AD99-62B1-4B43-BB8F-685D39F59356}" srcOrd="0" destOrd="0" presId="urn:microsoft.com/office/officeart/2005/8/layout/vList2"/>
    <dgm:cxn modelId="{1615BB16-A473-401A-B181-3502FB6677EF}" type="presOf" srcId="{48752D52-381A-4414-857E-E05B504ED5F1}" destId="{D3B9D325-9C34-414E-BF54-E1D95ED3B716}" srcOrd="0" destOrd="0" presId="urn:microsoft.com/office/officeart/2005/8/layout/vList2"/>
    <dgm:cxn modelId="{9E4A2287-5A03-4669-A5C6-AAF59CA40888}" srcId="{48752D52-381A-4414-857E-E05B504ED5F1}" destId="{DA4EE0CA-E6BC-4EA0-B521-9FC501C0401C}" srcOrd="0" destOrd="0" parTransId="{EE481794-BDE4-4008-80A2-6B8FE06434C9}" sibTransId="{D60975A5-C3FB-46D6-9060-EDF760D6CA65}"/>
    <dgm:cxn modelId="{12E6480A-C2A2-411C-8341-F5FB287F42D7}" srcId="{48752D52-381A-4414-857E-E05B504ED5F1}" destId="{EF0A53FB-A458-4934-A3D0-A6E71FBE57B6}" srcOrd="1" destOrd="0" parTransId="{3C4CBBE7-F393-43BC-963D-5C86455331C4}" sibTransId="{F5401443-2817-4AB6-A478-34B7228B2083}"/>
    <dgm:cxn modelId="{74B68F74-D4D1-44FB-9501-81463EE17B99}" type="presOf" srcId="{EF0A53FB-A458-4934-A3D0-A6E71FBE57B6}" destId="{5472861D-AAA9-4826-A7BE-03AE4A147649}" srcOrd="0" destOrd="0" presId="urn:microsoft.com/office/officeart/2005/8/layout/vList2"/>
    <dgm:cxn modelId="{81D1EAD5-8EE2-4AC8-9E06-82C1A4ECDCC1}" type="presParOf" srcId="{D3B9D325-9C34-414E-BF54-E1D95ED3B716}" destId="{9A85AD99-62B1-4B43-BB8F-685D39F59356}" srcOrd="0" destOrd="0" presId="urn:microsoft.com/office/officeart/2005/8/layout/vList2"/>
    <dgm:cxn modelId="{F503ABA2-E290-4FA5-A350-1976FC6AC6FC}" type="presParOf" srcId="{D3B9D325-9C34-414E-BF54-E1D95ED3B716}" destId="{F3FD0152-24A0-4B48-9B0B-7DEEB7422FAF}" srcOrd="1" destOrd="0" presId="urn:microsoft.com/office/officeart/2005/8/layout/vList2"/>
    <dgm:cxn modelId="{699A7FEF-6023-4BEF-A7D7-A3AEA430C3DC}" type="presParOf" srcId="{D3B9D325-9C34-414E-BF54-E1D95ED3B716}" destId="{5472861D-AAA9-4826-A7BE-03AE4A147649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2245DD9-773E-4D66-9489-0E16020BEEAB}" type="doc">
      <dgm:prSet loTypeId="urn:microsoft.com/office/officeart/2005/8/layout/default#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1EAEACCB-5D3B-4B2A-876E-627D99514115}">
      <dgm:prSet phldrT="[Text]"/>
      <dgm:spPr/>
      <dgm:t>
        <a:bodyPr/>
        <a:lstStyle/>
        <a:p>
          <a:r>
            <a:rPr lang="en-US" b="1" dirty="0" smtClean="0"/>
            <a:t>$match, </a:t>
          </a:r>
        </a:p>
        <a:p>
          <a:r>
            <a:rPr lang="en-US" b="1" dirty="0" smtClean="0"/>
            <a:t>$unwind </a:t>
          </a:r>
          <a:endParaRPr lang="en-US" b="1" dirty="0"/>
        </a:p>
      </dgm:t>
    </dgm:pt>
    <dgm:pt modelId="{A79D98C0-24B6-4033-9510-EBCE31903311}" type="parTrans" cxnId="{A4423F11-0F70-4661-942C-F0F941F035D2}">
      <dgm:prSet/>
      <dgm:spPr/>
      <dgm:t>
        <a:bodyPr/>
        <a:lstStyle/>
        <a:p>
          <a:endParaRPr lang="en-US" b="1"/>
        </a:p>
      </dgm:t>
    </dgm:pt>
    <dgm:pt modelId="{1226BDE7-E28F-46EC-B8D8-88D9BE9732DF}" type="sibTrans" cxnId="{A4423F11-0F70-4661-942C-F0F941F035D2}">
      <dgm:prSet/>
      <dgm:spPr/>
      <dgm:t>
        <a:bodyPr/>
        <a:lstStyle/>
        <a:p>
          <a:endParaRPr lang="en-US" b="1"/>
        </a:p>
      </dgm:t>
    </dgm:pt>
    <dgm:pt modelId="{E4E12036-EF8A-4D7E-9406-2B6B717A8987}">
      <dgm:prSet phldrT="[Text]"/>
      <dgm:spPr/>
      <dgm:t>
        <a:bodyPr/>
        <a:lstStyle/>
        <a:p>
          <a:r>
            <a:rPr lang="en-US" b="1" dirty="0" smtClean="0"/>
            <a:t>$group, </a:t>
          </a:r>
        </a:p>
        <a:p>
          <a:r>
            <a:rPr lang="en-US" b="1" dirty="0" smtClean="0"/>
            <a:t>$project</a:t>
          </a:r>
          <a:endParaRPr lang="en-US" b="1" dirty="0"/>
        </a:p>
      </dgm:t>
    </dgm:pt>
    <dgm:pt modelId="{D3D2A059-E69C-476D-A1CC-90B6BAB9EAD5}" type="parTrans" cxnId="{FF5A9F45-FD04-444F-AF0D-1596687E5495}">
      <dgm:prSet/>
      <dgm:spPr/>
      <dgm:t>
        <a:bodyPr/>
        <a:lstStyle/>
        <a:p>
          <a:endParaRPr lang="en-US" b="1"/>
        </a:p>
      </dgm:t>
    </dgm:pt>
    <dgm:pt modelId="{A960A293-5D76-42DD-97F4-C3E3330B0AFD}" type="sibTrans" cxnId="{FF5A9F45-FD04-444F-AF0D-1596687E5495}">
      <dgm:prSet/>
      <dgm:spPr/>
      <dgm:t>
        <a:bodyPr/>
        <a:lstStyle/>
        <a:p>
          <a:endParaRPr lang="en-US" b="1"/>
        </a:p>
      </dgm:t>
    </dgm:pt>
    <dgm:pt modelId="{0C4458BC-1436-4F4F-8D93-438A3968970D}">
      <dgm:prSet phldrT="[Text]"/>
      <dgm:spPr/>
      <dgm:t>
        <a:bodyPr/>
        <a:lstStyle/>
        <a:p>
          <a:r>
            <a:rPr lang="en-US" b="1" dirty="0" smtClean="0"/>
            <a:t>$skip, </a:t>
          </a:r>
        </a:p>
        <a:p>
          <a:r>
            <a:rPr lang="en-US" b="1" dirty="0" smtClean="0"/>
            <a:t>$limit</a:t>
          </a:r>
          <a:endParaRPr lang="en-US" b="1" dirty="0"/>
        </a:p>
      </dgm:t>
    </dgm:pt>
    <dgm:pt modelId="{1715010A-9347-434C-838C-F5DF6D09C4FB}" type="parTrans" cxnId="{36F1C43C-526F-4828-8382-AC86F9DA8225}">
      <dgm:prSet/>
      <dgm:spPr/>
      <dgm:t>
        <a:bodyPr/>
        <a:lstStyle/>
        <a:p>
          <a:endParaRPr lang="en-US" b="1"/>
        </a:p>
      </dgm:t>
    </dgm:pt>
    <dgm:pt modelId="{2F4773DA-61D1-4A16-8822-52125A147156}" type="sibTrans" cxnId="{36F1C43C-526F-4828-8382-AC86F9DA8225}">
      <dgm:prSet/>
      <dgm:spPr/>
      <dgm:t>
        <a:bodyPr/>
        <a:lstStyle/>
        <a:p>
          <a:endParaRPr lang="en-US" b="1"/>
        </a:p>
      </dgm:t>
    </dgm:pt>
    <dgm:pt modelId="{127592BB-2D48-41CD-A60A-E32EE917DDDE}">
      <dgm:prSet phldrT="[Text]"/>
      <dgm:spPr/>
      <dgm:t>
        <a:bodyPr/>
        <a:lstStyle/>
        <a:p>
          <a:r>
            <a:rPr lang="en-US" b="1" dirty="0" smtClean="0"/>
            <a:t>$sort, </a:t>
          </a:r>
        </a:p>
        <a:p>
          <a:r>
            <a:rPr lang="en-US" b="1" dirty="0" smtClean="0"/>
            <a:t>$first</a:t>
          </a:r>
          <a:endParaRPr lang="en-US" b="1" dirty="0"/>
        </a:p>
      </dgm:t>
    </dgm:pt>
    <dgm:pt modelId="{2B92C224-7177-4AE0-9F90-8E4EC21D44F8}" type="parTrans" cxnId="{0F595DEC-F124-45DF-9831-BA784BB4EE1B}">
      <dgm:prSet/>
      <dgm:spPr/>
      <dgm:t>
        <a:bodyPr/>
        <a:lstStyle/>
        <a:p>
          <a:endParaRPr lang="en-US" b="1"/>
        </a:p>
      </dgm:t>
    </dgm:pt>
    <dgm:pt modelId="{3D04F2DB-9118-40DC-BFDD-4732C8F480BF}" type="sibTrans" cxnId="{0F595DEC-F124-45DF-9831-BA784BB4EE1B}">
      <dgm:prSet/>
      <dgm:spPr/>
      <dgm:t>
        <a:bodyPr/>
        <a:lstStyle/>
        <a:p>
          <a:endParaRPr lang="en-US" b="1"/>
        </a:p>
      </dgm:t>
    </dgm:pt>
    <dgm:pt modelId="{5F196BB0-AD30-4B77-A3A2-902DA6C75F9B}">
      <dgm:prSet phldrT="[Text]"/>
      <dgm:spPr/>
      <dgm:t>
        <a:bodyPr/>
        <a:lstStyle/>
        <a:p>
          <a:r>
            <a:rPr lang="en-US" b="1" dirty="0" smtClean="0"/>
            <a:t>$last,</a:t>
          </a:r>
        </a:p>
        <a:p>
          <a:r>
            <a:rPr lang="en-US" b="1" dirty="0" smtClean="0"/>
            <a:t>$sum</a:t>
          </a:r>
          <a:endParaRPr lang="en-US" b="1" dirty="0"/>
        </a:p>
      </dgm:t>
    </dgm:pt>
    <dgm:pt modelId="{D86E7426-67C5-4D07-8979-83CB6B40152D}" type="parTrans" cxnId="{E3586A27-CAD1-42A3-8F63-CA2F611B8090}">
      <dgm:prSet/>
      <dgm:spPr/>
      <dgm:t>
        <a:bodyPr/>
        <a:lstStyle/>
        <a:p>
          <a:endParaRPr lang="en-US" b="1"/>
        </a:p>
      </dgm:t>
    </dgm:pt>
    <dgm:pt modelId="{CF0EC58C-680D-4357-BA96-E4293CD7BFD0}" type="sibTrans" cxnId="{E3586A27-CAD1-42A3-8F63-CA2F611B8090}">
      <dgm:prSet/>
      <dgm:spPr/>
      <dgm:t>
        <a:bodyPr/>
        <a:lstStyle/>
        <a:p>
          <a:endParaRPr lang="en-US" b="1"/>
        </a:p>
      </dgm:t>
    </dgm:pt>
    <dgm:pt modelId="{E375DD5F-803B-40D9-A1DC-AF794EDBF9F9}">
      <dgm:prSet phldrT="[Text]"/>
      <dgm:spPr/>
      <dgm:t>
        <a:bodyPr/>
        <a:lstStyle/>
        <a:p>
          <a:r>
            <a:rPr lang="en-US" b="1" dirty="0" smtClean="0"/>
            <a:t>$avg,</a:t>
          </a:r>
        </a:p>
        <a:p>
          <a:r>
            <a:rPr lang="en-US" b="1" dirty="0" smtClean="0"/>
            <a:t>$min,</a:t>
          </a:r>
        </a:p>
        <a:p>
          <a:r>
            <a:rPr lang="en-US" b="1" dirty="0" smtClean="0"/>
            <a:t>$max</a:t>
          </a:r>
          <a:endParaRPr lang="en-US" b="1" dirty="0"/>
        </a:p>
      </dgm:t>
    </dgm:pt>
    <dgm:pt modelId="{CD79F9A1-19B2-421A-BBCD-4F748DA08BEE}" type="parTrans" cxnId="{FDD96153-72BF-49EF-87BC-470FCB01D91E}">
      <dgm:prSet/>
      <dgm:spPr/>
      <dgm:t>
        <a:bodyPr/>
        <a:lstStyle/>
        <a:p>
          <a:endParaRPr lang="en-US" b="1"/>
        </a:p>
      </dgm:t>
    </dgm:pt>
    <dgm:pt modelId="{A70F1C39-9D4E-4990-BE2A-B8202555AF65}" type="sibTrans" cxnId="{FDD96153-72BF-49EF-87BC-470FCB01D91E}">
      <dgm:prSet/>
      <dgm:spPr/>
      <dgm:t>
        <a:bodyPr/>
        <a:lstStyle/>
        <a:p>
          <a:endParaRPr lang="en-US" b="1"/>
        </a:p>
      </dgm:t>
    </dgm:pt>
    <dgm:pt modelId="{82BA2F78-096B-4021-8101-456B0A247EE8}">
      <dgm:prSet phldrT="[Text]"/>
      <dgm:spPr/>
      <dgm:t>
        <a:bodyPr/>
        <a:lstStyle/>
        <a:p>
          <a:r>
            <a:rPr lang="en-US" b="1" dirty="0" smtClean="0"/>
            <a:t>$push,</a:t>
          </a:r>
        </a:p>
        <a:p>
          <a:r>
            <a:rPr lang="en-US" b="1" dirty="0" smtClean="0"/>
            <a:t>$addToSet</a:t>
          </a:r>
          <a:endParaRPr lang="en-US" b="1" dirty="0"/>
        </a:p>
      </dgm:t>
    </dgm:pt>
    <dgm:pt modelId="{A6C554DD-6288-425E-B774-C7140DF5635C}" type="parTrans" cxnId="{6CA03D63-1E66-4902-B48B-E8ADE638C368}">
      <dgm:prSet/>
      <dgm:spPr/>
      <dgm:t>
        <a:bodyPr/>
        <a:lstStyle/>
        <a:p>
          <a:endParaRPr lang="en-US" b="1"/>
        </a:p>
      </dgm:t>
    </dgm:pt>
    <dgm:pt modelId="{EC2E80AE-463A-4DC6-881E-00B19EE9520A}" type="sibTrans" cxnId="{6CA03D63-1E66-4902-B48B-E8ADE638C368}">
      <dgm:prSet/>
      <dgm:spPr/>
      <dgm:t>
        <a:bodyPr/>
        <a:lstStyle/>
        <a:p>
          <a:endParaRPr lang="en-US" b="1"/>
        </a:p>
      </dgm:t>
    </dgm:pt>
    <dgm:pt modelId="{2DAB4A71-ACF6-4379-967F-448E3E5A2BE4}" type="pres">
      <dgm:prSet presAssocID="{A2245DD9-773E-4D66-9489-0E16020BEEAB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D322C1C-A42C-43B2-9BF9-421BC871001C}" type="pres">
      <dgm:prSet presAssocID="{1EAEACCB-5D3B-4B2A-876E-627D99514115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3C2578-F89D-4750-BF80-BEC3618552A9}" type="pres">
      <dgm:prSet presAssocID="{1226BDE7-E28F-46EC-B8D8-88D9BE9732DF}" presName="sibTrans" presStyleCnt="0"/>
      <dgm:spPr/>
    </dgm:pt>
    <dgm:pt modelId="{1D09C6AB-553E-4FA7-8CAE-9D99D322E2AF}" type="pres">
      <dgm:prSet presAssocID="{E4E12036-EF8A-4D7E-9406-2B6B717A8987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644334-F29B-44F8-9804-9E7E598B1FB9}" type="pres">
      <dgm:prSet presAssocID="{A960A293-5D76-42DD-97F4-C3E3330B0AFD}" presName="sibTrans" presStyleCnt="0"/>
      <dgm:spPr/>
    </dgm:pt>
    <dgm:pt modelId="{3BA68996-207D-47AC-81A5-82D8FE9D564C}" type="pres">
      <dgm:prSet presAssocID="{0C4458BC-1436-4F4F-8D93-438A3968970D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2AC321-1AE9-4361-B127-FD215B13310E}" type="pres">
      <dgm:prSet presAssocID="{2F4773DA-61D1-4A16-8822-52125A147156}" presName="sibTrans" presStyleCnt="0"/>
      <dgm:spPr/>
    </dgm:pt>
    <dgm:pt modelId="{2A8EA7E4-E631-4C5D-9969-4D0C856CE401}" type="pres">
      <dgm:prSet presAssocID="{127592BB-2D48-41CD-A60A-E32EE917DDDE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2C99CD-FE61-4A4D-B177-EF73BFAD900D}" type="pres">
      <dgm:prSet presAssocID="{3D04F2DB-9118-40DC-BFDD-4732C8F480BF}" presName="sibTrans" presStyleCnt="0"/>
      <dgm:spPr/>
    </dgm:pt>
    <dgm:pt modelId="{9BA44007-C4F9-4B35-8E0F-B91A25113285}" type="pres">
      <dgm:prSet presAssocID="{5F196BB0-AD30-4B77-A3A2-902DA6C75F9B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3AFF44-035A-4936-8109-90819226B1C0}" type="pres">
      <dgm:prSet presAssocID="{CF0EC58C-680D-4357-BA96-E4293CD7BFD0}" presName="sibTrans" presStyleCnt="0"/>
      <dgm:spPr/>
    </dgm:pt>
    <dgm:pt modelId="{1734634A-257F-4DBE-9F08-0962D17B316C}" type="pres">
      <dgm:prSet presAssocID="{E375DD5F-803B-40D9-A1DC-AF794EDBF9F9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15587A-2358-4D4C-9796-16644DD50AA1}" type="pres">
      <dgm:prSet presAssocID="{A70F1C39-9D4E-4990-BE2A-B8202555AF65}" presName="sibTrans" presStyleCnt="0"/>
      <dgm:spPr/>
    </dgm:pt>
    <dgm:pt modelId="{F08202E7-5B7F-4A84-A976-B7183053FDBA}" type="pres">
      <dgm:prSet presAssocID="{82BA2F78-096B-4021-8101-456B0A247EE8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E779F21-6803-4DB9-9E77-69B08BD1B07E}" type="presOf" srcId="{1EAEACCB-5D3B-4B2A-876E-627D99514115}" destId="{2D322C1C-A42C-43B2-9BF9-421BC871001C}" srcOrd="0" destOrd="0" presId="urn:microsoft.com/office/officeart/2005/8/layout/default#2"/>
    <dgm:cxn modelId="{A4423F11-0F70-4661-942C-F0F941F035D2}" srcId="{A2245DD9-773E-4D66-9489-0E16020BEEAB}" destId="{1EAEACCB-5D3B-4B2A-876E-627D99514115}" srcOrd="0" destOrd="0" parTransId="{A79D98C0-24B6-4033-9510-EBCE31903311}" sibTransId="{1226BDE7-E28F-46EC-B8D8-88D9BE9732DF}"/>
    <dgm:cxn modelId="{FF5A9F45-FD04-444F-AF0D-1596687E5495}" srcId="{A2245DD9-773E-4D66-9489-0E16020BEEAB}" destId="{E4E12036-EF8A-4D7E-9406-2B6B717A8987}" srcOrd="1" destOrd="0" parTransId="{D3D2A059-E69C-476D-A1CC-90B6BAB9EAD5}" sibTransId="{A960A293-5D76-42DD-97F4-C3E3330B0AFD}"/>
    <dgm:cxn modelId="{6CA03D63-1E66-4902-B48B-E8ADE638C368}" srcId="{A2245DD9-773E-4D66-9489-0E16020BEEAB}" destId="{82BA2F78-096B-4021-8101-456B0A247EE8}" srcOrd="6" destOrd="0" parTransId="{A6C554DD-6288-425E-B774-C7140DF5635C}" sibTransId="{EC2E80AE-463A-4DC6-881E-00B19EE9520A}"/>
    <dgm:cxn modelId="{7DF2F1E6-4104-4B9B-BF5C-5E932CA59D6B}" type="presOf" srcId="{82BA2F78-096B-4021-8101-456B0A247EE8}" destId="{F08202E7-5B7F-4A84-A976-B7183053FDBA}" srcOrd="0" destOrd="0" presId="urn:microsoft.com/office/officeart/2005/8/layout/default#2"/>
    <dgm:cxn modelId="{3E1A2BC3-CB1D-4F79-8342-C524F653FF18}" type="presOf" srcId="{5F196BB0-AD30-4B77-A3A2-902DA6C75F9B}" destId="{9BA44007-C4F9-4B35-8E0F-B91A25113285}" srcOrd="0" destOrd="0" presId="urn:microsoft.com/office/officeart/2005/8/layout/default#2"/>
    <dgm:cxn modelId="{FDD96153-72BF-49EF-87BC-470FCB01D91E}" srcId="{A2245DD9-773E-4D66-9489-0E16020BEEAB}" destId="{E375DD5F-803B-40D9-A1DC-AF794EDBF9F9}" srcOrd="5" destOrd="0" parTransId="{CD79F9A1-19B2-421A-BBCD-4F748DA08BEE}" sibTransId="{A70F1C39-9D4E-4990-BE2A-B8202555AF65}"/>
    <dgm:cxn modelId="{E71E4D8E-CD1C-4959-BEBF-B96C85F6CC07}" type="presOf" srcId="{E4E12036-EF8A-4D7E-9406-2B6B717A8987}" destId="{1D09C6AB-553E-4FA7-8CAE-9D99D322E2AF}" srcOrd="0" destOrd="0" presId="urn:microsoft.com/office/officeart/2005/8/layout/default#2"/>
    <dgm:cxn modelId="{15E5188E-EDF3-4BDA-B5B7-5966DACE4BB8}" type="presOf" srcId="{0C4458BC-1436-4F4F-8D93-438A3968970D}" destId="{3BA68996-207D-47AC-81A5-82D8FE9D564C}" srcOrd="0" destOrd="0" presId="urn:microsoft.com/office/officeart/2005/8/layout/default#2"/>
    <dgm:cxn modelId="{0F595DEC-F124-45DF-9831-BA784BB4EE1B}" srcId="{A2245DD9-773E-4D66-9489-0E16020BEEAB}" destId="{127592BB-2D48-41CD-A60A-E32EE917DDDE}" srcOrd="3" destOrd="0" parTransId="{2B92C224-7177-4AE0-9F90-8E4EC21D44F8}" sibTransId="{3D04F2DB-9118-40DC-BFDD-4732C8F480BF}"/>
    <dgm:cxn modelId="{36F1C43C-526F-4828-8382-AC86F9DA8225}" srcId="{A2245DD9-773E-4D66-9489-0E16020BEEAB}" destId="{0C4458BC-1436-4F4F-8D93-438A3968970D}" srcOrd="2" destOrd="0" parTransId="{1715010A-9347-434C-838C-F5DF6D09C4FB}" sibTransId="{2F4773DA-61D1-4A16-8822-52125A147156}"/>
    <dgm:cxn modelId="{8FD83878-EB6F-4A72-8C98-300D36F8BCC4}" type="presOf" srcId="{127592BB-2D48-41CD-A60A-E32EE917DDDE}" destId="{2A8EA7E4-E631-4C5D-9969-4D0C856CE401}" srcOrd="0" destOrd="0" presId="urn:microsoft.com/office/officeart/2005/8/layout/default#2"/>
    <dgm:cxn modelId="{580B9430-A2CE-49D2-B45B-42A1784B78B6}" type="presOf" srcId="{E375DD5F-803B-40D9-A1DC-AF794EDBF9F9}" destId="{1734634A-257F-4DBE-9F08-0962D17B316C}" srcOrd="0" destOrd="0" presId="urn:microsoft.com/office/officeart/2005/8/layout/default#2"/>
    <dgm:cxn modelId="{E7381546-532D-40B6-87D0-71C2F8485FD3}" type="presOf" srcId="{A2245DD9-773E-4D66-9489-0E16020BEEAB}" destId="{2DAB4A71-ACF6-4379-967F-448E3E5A2BE4}" srcOrd="0" destOrd="0" presId="urn:microsoft.com/office/officeart/2005/8/layout/default#2"/>
    <dgm:cxn modelId="{E3586A27-CAD1-42A3-8F63-CA2F611B8090}" srcId="{A2245DD9-773E-4D66-9489-0E16020BEEAB}" destId="{5F196BB0-AD30-4B77-A3A2-902DA6C75F9B}" srcOrd="4" destOrd="0" parTransId="{D86E7426-67C5-4D07-8979-83CB6B40152D}" sibTransId="{CF0EC58C-680D-4357-BA96-E4293CD7BFD0}"/>
    <dgm:cxn modelId="{83756410-028D-48F5-AD8A-091BE2493758}" type="presParOf" srcId="{2DAB4A71-ACF6-4379-967F-448E3E5A2BE4}" destId="{2D322C1C-A42C-43B2-9BF9-421BC871001C}" srcOrd="0" destOrd="0" presId="urn:microsoft.com/office/officeart/2005/8/layout/default#2"/>
    <dgm:cxn modelId="{3BE19DE4-6A06-45D3-8D92-0D8265DE2C89}" type="presParOf" srcId="{2DAB4A71-ACF6-4379-967F-448E3E5A2BE4}" destId="{B83C2578-F89D-4750-BF80-BEC3618552A9}" srcOrd="1" destOrd="0" presId="urn:microsoft.com/office/officeart/2005/8/layout/default#2"/>
    <dgm:cxn modelId="{16F08D9F-0FA3-4103-833C-CAB3D1B6AA93}" type="presParOf" srcId="{2DAB4A71-ACF6-4379-967F-448E3E5A2BE4}" destId="{1D09C6AB-553E-4FA7-8CAE-9D99D322E2AF}" srcOrd="2" destOrd="0" presId="urn:microsoft.com/office/officeart/2005/8/layout/default#2"/>
    <dgm:cxn modelId="{6849E24F-D79D-4FE3-9B71-63A3B851E6B1}" type="presParOf" srcId="{2DAB4A71-ACF6-4379-967F-448E3E5A2BE4}" destId="{69644334-F29B-44F8-9804-9E7E598B1FB9}" srcOrd="3" destOrd="0" presId="urn:microsoft.com/office/officeart/2005/8/layout/default#2"/>
    <dgm:cxn modelId="{7B8715FE-22E6-4412-A847-997BA1785BFC}" type="presParOf" srcId="{2DAB4A71-ACF6-4379-967F-448E3E5A2BE4}" destId="{3BA68996-207D-47AC-81A5-82D8FE9D564C}" srcOrd="4" destOrd="0" presId="urn:microsoft.com/office/officeart/2005/8/layout/default#2"/>
    <dgm:cxn modelId="{A2F3FDCF-0F25-4F9D-ADA7-824A37402902}" type="presParOf" srcId="{2DAB4A71-ACF6-4379-967F-448E3E5A2BE4}" destId="{DC2AC321-1AE9-4361-B127-FD215B13310E}" srcOrd="5" destOrd="0" presId="urn:microsoft.com/office/officeart/2005/8/layout/default#2"/>
    <dgm:cxn modelId="{FF7D0136-DE37-4559-942E-0EE99A17D69E}" type="presParOf" srcId="{2DAB4A71-ACF6-4379-967F-448E3E5A2BE4}" destId="{2A8EA7E4-E631-4C5D-9969-4D0C856CE401}" srcOrd="6" destOrd="0" presId="urn:microsoft.com/office/officeart/2005/8/layout/default#2"/>
    <dgm:cxn modelId="{2BD6FE29-DED9-40D1-AA22-37C743E8948C}" type="presParOf" srcId="{2DAB4A71-ACF6-4379-967F-448E3E5A2BE4}" destId="{402C99CD-FE61-4A4D-B177-EF73BFAD900D}" srcOrd="7" destOrd="0" presId="urn:microsoft.com/office/officeart/2005/8/layout/default#2"/>
    <dgm:cxn modelId="{CADB0889-FF11-467B-89C5-427813DC039C}" type="presParOf" srcId="{2DAB4A71-ACF6-4379-967F-448E3E5A2BE4}" destId="{9BA44007-C4F9-4B35-8E0F-B91A25113285}" srcOrd="8" destOrd="0" presId="urn:microsoft.com/office/officeart/2005/8/layout/default#2"/>
    <dgm:cxn modelId="{36EACA8A-273A-446D-9339-8F7FC844855E}" type="presParOf" srcId="{2DAB4A71-ACF6-4379-967F-448E3E5A2BE4}" destId="{A53AFF44-035A-4936-8109-90819226B1C0}" srcOrd="9" destOrd="0" presId="urn:microsoft.com/office/officeart/2005/8/layout/default#2"/>
    <dgm:cxn modelId="{2B06A249-435E-45A4-AA93-97C1E13BD3FC}" type="presParOf" srcId="{2DAB4A71-ACF6-4379-967F-448E3E5A2BE4}" destId="{1734634A-257F-4DBE-9F08-0962D17B316C}" srcOrd="10" destOrd="0" presId="urn:microsoft.com/office/officeart/2005/8/layout/default#2"/>
    <dgm:cxn modelId="{D217403F-45C3-4C4A-9107-DA0005E61275}" type="presParOf" srcId="{2DAB4A71-ACF6-4379-967F-448E3E5A2BE4}" destId="{1015587A-2358-4D4C-9796-16644DD50AA1}" srcOrd="11" destOrd="0" presId="urn:microsoft.com/office/officeart/2005/8/layout/default#2"/>
    <dgm:cxn modelId="{A057DD22-8C6A-4DB9-A7B1-EFD407E1B564}" type="presParOf" srcId="{2DAB4A71-ACF6-4379-967F-448E3E5A2BE4}" destId="{F08202E7-5B7F-4A84-A976-B7183053FDBA}" srcOrd="12" destOrd="0" presId="urn:microsoft.com/office/officeart/2005/8/layout/default#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D51A17BE-C20B-4106-A526-56E802C3D5E9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3CCC39D0-3C68-48E7-8617-D6759ECBF715}">
      <dgm:prSet phldrT="[Text]" custT="1"/>
      <dgm:spPr/>
      <dgm:t>
        <a:bodyPr/>
        <a:lstStyle/>
        <a:p>
          <a:r>
            <a:rPr lang="en-US" sz="2000" dirty="0" smtClean="0"/>
            <a:t>Grouping the documents by the day and the year of the date field, the following operation uses the $sum accumulator to compute the total amount and the count for each group of documents.</a:t>
          </a:r>
          <a:endParaRPr lang="en-US" sz="2000" dirty="0"/>
        </a:p>
      </dgm:t>
    </dgm:pt>
    <dgm:pt modelId="{65477607-A745-4F58-8DFB-EBAE9AB16DC7}" type="parTrans" cxnId="{60B2A7B3-DB07-40D2-9EDA-86AF5C8854C3}">
      <dgm:prSet/>
      <dgm:spPr/>
      <dgm:t>
        <a:bodyPr/>
        <a:lstStyle/>
        <a:p>
          <a:endParaRPr lang="en-US" sz="2000"/>
        </a:p>
      </dgm:t>
    </dgm:pt>
    <dgm:pt modelId="{D16C39E8-9882-4C62-8D02-A62D53250117}" type="sibTrans" cxnId="{60B2A7B3-DB07-40D2-9EDA-86AF5C8854C3}">
      <dgm:prSet/>
      <dgm:spPr/>
      <dgm:t>
        <a:bodyPr/>
        <a:lstStyle/>
        <a:p>
          <a:endParaRPr lang="en-US" sz="2000"/>
        </a:p>
      </dgm:t>
    </dgm:pt>
    <dgm:pt modelId="{C9310BCA-31BC-49B3-807A-23C766F8708F}">
      <dgm:prSet phldrT="[Text]" custT="1"/>
      <dgm:spPr/>
      <dgm:t>
        <a:bodyPr/>
        <a:lstStyle/>
        <a:p>
          <a:r>
            <a:rPr lang="en-US" sz="2000" dirty="0" smtClean="0"/>
            <a:t>-&gt;db.employees.aggregate([{$group : {_id : "$gender", NoOfEmp : {$sum : 1}}}])</a:t>
          </a:r>
          <a:endParaRPr lang="en-US" sz="2000" dirty="0"/>
        </a:p>
      </dgm:t>
    </dgm:pt>
    <dgm:pt modelId="{CB3F4B64-2310-4B67-9967-6EB84942830A}" type="parTrans" cxnId="{03C62DC4-4B2C-4F2F-B84C-A9461E4B441E}">
      <dgm:prSet/>
      <dgm:spPr/>
      <dgm:t>
        <a:bodyPr/>
        <a:lstStyle/>
        <a:p>
          <a:endParaRPr lang="en-US" sz="2000"/>
        </a:p>
      </dgm:t>
    </dgm:pt>
    <dgm:pt modelId="{54C756A1-BF73-4692-900F-975EF43EA41E}" type="sibTrans" cxnId="{03C62DC4-4B2C-4F2F-B84C-A9461E4B441E}">
      <dgm:prSet/>
      <dgm:spPr/>
      <dgm:t>
        <a:bodyPr/>
        <a:lstStyle/>
        <a:p>
          <a:endParaRPr lang="en-US" sz="2000"/>
        </a:p>
      </dgm:t>
    </dgm:pt>
    <dgm:pt modelId="{02D9598C-550B-4187-8C37-6DE07F0B8992}" type="pres">
      <dgm:prSet presAssocID="{D51A17BE-C20B-4106-A526-56E802C3D5E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9EDF5CD-CB39-44BF-BED7-5AB61AA89F98}" type="pres">
      <dgm:prSet presAssocID="{3CCC39D0-3C68-48E7-8617-D6759ECBF715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8728C75-7C21-4F16-883E-66AF40DE740C}" type="pres">
      <dgm:prSet presAssocID="{3CCC39D0-3C68-48E7-8617-D6759ECBF715}" presName="childText" presStyleLbl="revTx" presStyleIdx="0" presStyleCnt="1" custLinFactNeighborY="259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2CAD39D-7A17-4394-B66E-7227868CA528}" type="presOf" srcId="{D51A17BE-C20B-4106-A526-56E802C3D5E9}" destId="{02D9598C-550B-4187-8C37-6DE07F0B8992}" srcOrd="0" destOrd="0" presId="urn:microsoft.com/office/officeart/2005/8/layout/vList2"/>
    <dgm:cxn modelId="{60B2A7B3-DB07-40D2-9EDA-86AF5C8854C3}" srcId="{D51A17BE-C20B-4106-A526-56E802C3D5E9}" destId="{3CCC39D0-3C68-48E7-8617-D6759ECBF715}" srcOrd="0" destOrd="0" parTransId="{65477607-A745-4F58-8DFB-EBAE9AB16DC7}" sibTransId="{D16C39E8-9882-4C62-8D02-A62D53250117}"/>
    <dgm:cxn modelId="{03C62DC4-4B2C-4F2F-B84C-A9461E4B441E}" srcId="{3CCC39D0-3C68-48E7-8617-D6759ECBF715}" destId="{C9310BCA-31BC-49B3-807A-23C766F8708F}" srcOrd="0" destOrd="0" parTransId="{CB3F4B64-2310-4B67-9967-6EB84942830A}" sibTransId="{54C756A1-BF73-4692-900F-975EF43EA41E}"/>
    <dgm:cxn modelId="{164C9A7D-7961-4F11-AA23-E398417A4C2D}" type="presOf" srcId="{3CCC39D0-3C68-48E7-8617-D6759ECBF715}" destId="{A9EDF5CD-CB39-44BF-BED7-5AB61AA89F98}" srcOrd="0" destOrd="0" presId="urn:microsoft.com/office/officeart/2005/8/layout/vList2"/>
    <dgm:cxn modelId="{84D2CE56-9B0E-48A8-A88D-2C87F4DAB98B}" type="presOf" srcId="{C9310BCA-31BC-49B3-807A-23C766F8708F}" destId="{18728C75-7C21-4F16-883E-66AF40DE740C}" srcOrd="0" destOrd="0" presId="urn:microsoft.com/office/officeart/2005/8/layout/vList2"/>
    <dgm:cxn modelId="{1CE39C1A-9EE6-4777-8EF7-916EB7420EE3}" type="presParOf" srcId="{02D9598C-550B-4187-8C37-6DE07F0B8992}" destId="{A9EDF5CD-CB39-44BF-BED7-5AB61AA89F98}" srcOrd="0" destOrd="0" presId="urn:microsoft.com/office/officeart/2005/8/layout/vList2"/>
    <dgm:cxn modelId="{768A1FB6-14B7-4E2D-AC99-A5C7FDF9DD1E}" type="presParOf" srcId="{02D9598C-550B-4187-8C37-6DE07F0B8992}" destId="{18728C75-7C21-4F16-883E-66AF40DE740C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CBA67160-E6CC-41E5-A6BA-F235373C13A7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2C98C9C9-2A01-4EC9-BB76-A3B53D283199}">
      <dgm:prSet phldrT="[Text]" custT="1"/>
      <dgm:spPr/>
      <dgm:t>
        <a:bodyPr/>
        <a:lstStyle/>
        <a:p>
          <a:r>
            <a:rPr lang="en-US" sz="2000" dirty="0" smtClean="0"/>
            <a:t>Returns the average value of the numeric values. $avg ignores non-numeric values.</a:t>
          </a:r>
          <a:endParaRPr lang="en-US" sz="2000" dirty="0"/>
        </a:p>
      </dgm:t>
    </dgm:pt>
    <dgm:pt modelId="{74AA7EFA-CCEA-4C63-A90D-56485A093DF0}" type="parTrans" cxnId="{78CB124D-1E99-4966-8F50-C6995E21EB42}">
      <dgm:prSet/>
      <dgm:spPr/>
      <dgm:t>
        <a:bodyPr/>
        <a:lstStyle/>
        <a:p>
          <a:endParaRPr lang="en-US" sz="2000"/>
        </a:p>
      </dgm:t>
    </dgm:pt>
    <dgm:pt modelId="{BC6C2841-B710-4F98-8ED8-4DF02CFE5E29}" type="sibTrans" cxnId="{78CB124D-1E99-4966-8F50-C6995E21EB42}">
      <dgm:prSet/>
      <dgm:spPr/>
      <dgm:t>
        <a:bodyPr/>
        <a:lstStyle/>
        <a:p>
          <a:endParaRPr lang="en-US" sz="2000"/>
        </a:p>
      </dgm:t>
    </dgm:pt>
    <dgm:pt modelId="{B1AC512D-2DB9-4596-8B42-B294D084B401}">
      <dgm:prSet phldrT="[Text]" custT="1"/>
      <dgm:spPr/>
      <dgm:t>
        <a:bodyPr/>
        <a:lstStyle/>
        <a:p>
          <a:r>
            <a:rPr lang="en-US" sz="2000" dirty="0" smtClean="0"/>
            <a:t>$avg returns the collective average of all the numeric values that result from applying a specified expression to each document in a group of documents that share the same group by key.</a:t>
          </a:r>
          <a:endParaRPr lang="en-US" sz="2000" dirty="0"/>
        </a:p>
      </dgm:t>
    </dgm:pt>
    <dgm:pt modelId="{3AF151D9-0976-4F7B-9D4F-09A7D1C90F51}" type="parTrans" cxnId="{0E71768D-E692-43F5-A668-0A50F431964D}">
      <dgm:prSet/>
      <dgm:spPr/>
      <dgm:t>
        <a:bodyPr/>
        <a:lstStyle/>
        <a:p>
          <a:endParaRPr lang="en-US" sz="2000"/>
        </a:p>
      </dgm:t>
    </dgm:pt>
    <dgm:pt modelId="{21E4F812-71B2-45A9-B05D-26E6D5F790DD}" type="sibTrans" cxnId="{0E71768D-E692-43F5-A668-0A50F431964D}">
      <dgm:prSet/>
      <dgm:spPr/>
      <dgm:t>
        <a:bodyPr/>
        <a:lstStyle/>
        <a:p>
          <a:endParaRPr lang="en-US" sz="2000"/>
        </a:p>
      </dgm:t>
    </dgm:pt>
    <dgm:pt modelId="{C923E41F-F316-442C-B852-095B53EB2A54}" type="pres">
      <dgm:prSet presAssocID="{CBA67160-E6CC-41E5-A6BA-F235373C13A7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80D59E3-1D59-4ED6-8DE3-59EE375EBA13}" type="pres">
      <dgm:prSet presAssocID="{2C98C9C9-2A01-4EC9-BB76-A3B53D283199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11C9A3-B283-4BE5-AB37-9C7AF47657EA}" type="pres">
      <dgm:prSet presAssocID="{BC6C2841-B710-4F98-8ED8-4DF02CFE5E29}" presName="spacer" presStyleCnt="0"/>
      <dgm:spPr/>
    </dgm:pt>
    <dgm:pt modelId="{B80A6210-F8A1-4BE9-9CAE-A4A931FF1032}" type="pres">
      <dgm:prSet presAssocID="{B1AC512D-2DB9-4596-8B42-B294D084B401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9A9B183-B9A1-4BED-B6C2-955F96773C6A}" type="presOf" srcId="{B1AC512D-2DB9-4596-8B42-B294D084B401}" destId="{B80A6210-F8A1-4BE9-9CAE-A4A931FF1032}" srcOrd="0" destOrd="0" presId="urn:microsoft.com/office/officeart/2005/8/layout/vList2"/>
    <dgm:cxn modelId="{78CB124D-1E99-4966-8F50-C6995E21EB42}" srcId="{CBA67160-E6CC-41E5-A6BA-F235373C13A7}" destId="{2C98C9C9-2A01-4EC9-BB76-A3B53D283199}" srcOrd="0" destOrd="0" parTransId="{74AA7EFA-CCEA-4C63-A90D-56485A093DF0}" sibTransId="{BC6C2841-B710-4F98-8ED8-4DF02CFE5E29}"/>
    <dgm:cxn modelId="{AB789209-933C-46DE-8B69-154D461B6CAF}" type="presOf" srcId="{CBA67160-E6CC-41E5-A6BA-F235373C13A7}" destId="{C923E41F-F316-442C-B852-095B53EB2A54}" srcOrd="0" destOrd="0" presId="urn:microsoft.com/office/officeart/2005/8/layout/vList2"/>
    <dgm:cxn modelId="{0E71768D-E692-43F5-A668-0A50F431964D}" srcId="{CBA67160-E6CC-41E5-A6BA-F235373C13A7}" destId="{B1AC512D-2DB9-4596-8B42-B294D084B401}" srcOrd="1" destOrd="0" parTransId="{3AF151D9-0976-4F7B-9D4F-09A7D1C90F51}" sibTransId="{21E4F812-71B2-45A9-B05D-26E6D5F790DD}"/>
    <dgm:cxn modelId="{D879F01E-A234-4222-AC58-1585CE9239C3}" type="presOf" srcId="{2C98C9C9-2A01-4EC9-BB76-A3B53D283199}" destId="{780D59E3-1D59-4ED6-8DE3-59EE375EBA13}" srcOrd="0" destOrd="0" presId="urn:microsoft.com/office/officeart/2005/8/layout/vList2"/>
    <dgm:cxn modelId="{985A2BB1-6A65-401F-88BB-973FD857D370}" type="presParOf" srcId="{C923E41F-F316-442C-B852-095B53EB2A54}" destId="{780D59E3-1D59-4ED6-8DE3-59EE375EBA13}" srcOrd="0" destOrd="0" presId="urn:microsoft.com/office/officeart/2005/8/layout/vList2"/>
    <dgm:cxn modelId="{419B4CEE-8F05-4965-AF76-609261181EBC}" type="presParOf" srcId="{C923E41F-F316-442C-B852-095B53EB2A54}" destId="{2911C9A3-B283-4BE5-AB37-9C7AF47657EA}" srcOrd="1" destOrd="0" presId="urn:microsoft.com/office/officeart/2005/8/layout/vList2"/>
    <dgm:cxn modelId="{704C3E05-6243-4FC2-9957-379A972AEED6}" type="presParOf" srcId="{C923E41F-F316-442C-B852-095B53EB2A54}" destId="{B80A6210-F8A1-4BE9-9CAE-A4A931FF1032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ACA7653F-76FF-4175-8C47-C2B074EF83D4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05B7EF1E-2046-42CE-87D5-B4F9C02F10BB}">
      <dgm:prSet phldrT="[Text]" custT="1"/>
      <dgm:spPr/>
      <dgm:t>
        <a:bodyPr/>
        <a:lstStyle/>
        <a:p>
          <a:r>
            <a:rPr lang="en-US" sz="2000" dirty="0" smtClean="0"/>
            <a:t>Grouping the documents by the item field, the following operation uses the $avg accumulator to compute the average amount and average quantity for each grouping.</a:t>
          </a:r>
          <a:endParaRPr lang="en-US" sz="2000" dirty="0"/>
        </a:p>
      </dgm:t>
    </dgm:pt>
    <dgm:pt modelId="{49252DAB-B7C1-4909-898B-29816E9FD774}" type="parTrans" cxnId="{0BB38BD7-7F9C-4558-B14A-6B63053A35FB}">
      <dgm:prSet/>
      <dgm:spPr/>
      <dgm:t>
        <a:bodyPr/>
        <a:lstStyle/>
        <a:p>
          <a:endParaRPr lang="en-US" sz="2000"/>
        </a:p>
      </dgm:t>
    </dgm:pt>
    <dgm:pt modelId="{06C27B93-A18F-4A02-86F1-B0B22D420301}" type="sibTrans" cxnId="{0BB38BD7-7F9C-4558-B14A-6B63053A35FB}">
      <dgm:prSet/>
      <dgm:spPr/>
      <dgm:t>
        <a:bodyPr/>
        <a:lstStyle/>
        <a:p>
          <a:endParaRPr lang="en-US" sz="2000"/>
        </a:p>
      </dgm:t>
    </dgm:pt>
    <dgm:pt modelId="{72AB3345-B04C-4ED2-8B40-6C1A2CE30FAB}">
      <dgm:prSet phldrT="[Text]" custT="1"/>
      <dgm:spPr/>
      <dgm:t>
        <a:bodyPr/>
        <a:lstStyle/>
        <a:p>
          <a:r>
            <a:rPr lang="en-US" sz="2000" dirty="0" smtClean="0"/>
            <a:t>-&gt;db.employees.aggregate([{$group : {_id : "$deptinfo._id", AvgSal : {$avg : "$salary"}}}])</a:t>
          </a:r>
          <a:endParaRPr lang="en-US" sz="2000" dirty="0"/>
        </a:p>
      </dgm:t>
    </dgm:pt>
    <dgm:pt modelId="{D170A9C7-CB30-41D2-9958-203FAA19FD25}" type="parTrans" cxnId="{0AD73412-A454-4DDB-8E8D-2186471120BF}">
      <dgm:prSet/>
      <dgm:spPr/>
      <dgm:t>
        <a:bodyPr/>
        <a:lstStyle/>
        <a:p>
          <a:endParaRPr lang="en-US" sz="2000"/>
        </a:p>
      </dgm:t>
    </dgm:pt>
    <dgm:pt modelId="{CE670BD4-D73F-4555-A604-D9EB256A762C}" type="sibTrans" cxnId="{0AD73412-A454-4DDB-8E8D-2186471120BF}">
      <dgm:prSet/>
      <dgm:spPr/>
      <dgm:t>
        <a:bodyPr/>
        <a:lstStyle/>
        <a:p>
          <a:endParaRPr lang="en-US" sz="2000"/>
        </a:p>
      </dgm:t>
    </dgm:pt>
    <dgm:pt modelId="{AF0B0C7E-8EF7-4173-BEBC-2EE7EC90FC47}" type="pres">
      <dgm:prSet presAssocID="{ACA7653F-76FF-4175-8C47-C2B074EF83D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9B8DA94-9743-4E85-88FE-F6E90D3F11AD}" type="pres">
      <dgm:prSet presAssocID="{05B7EF1E-2046-42CE-87D5-B4F9C02F10BB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A96F57-3BE7-4BC8-B9EC-EA527ADB9A46}" type="pres">
      <dgm:prSet presAssocID="{05B7EF1E-2046-42CE-87D5-B4F9C02F10BB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AD73412-A454-4DDB-8E8D-2186471120BF}" srcId="{05B7EF1E-2046-42CE-87D5-B4F9C02F10BB}" destId="{72AB3345-B04C-4ED2-8B40-6C1A2CE30FAB}" srcOrd="0" destOrd="0" parTransId="{D170A9C7-CB30-41D2-9958-203FAA19FD25}" sibTransId="{CE670BD4-D73F-4555-A604-D9EB256A762C}"/>
    <dgm:cxn modelId="{7CCCCCAD-18A8-4569-8BB2-02B6E5777712}" type="presOf" srcId="{72AB3345-B04C-4ED2-8B40-6C1A2CE30FAB}" destId="{A0A96F57-3BE7-4BC8-B9EC-EA527ADB9A46}" srcOrd="0" destOrd="0" presId="urn:microsoft.com/office/officeart/2005/8/layout/vList2"/>
    <dgm:cxn modelId="{58F9278F-2B97-4F1E-9941-1FFEBB81F196}" type="presOf" srcId="{05B7EF1E-2046-42CE-87D5-B4F9C02F10BB}" destId="{E9B8DA94-9743-4E85-88FE-F6E90D3F11AD}" srcOrd="0" destOrd="0" presId="urn:microsoft.com/office/officeart/2005/8/layout/vList2"/>
    <dgm:cxn modelId="{0BB38BD7-7F9C-4558-B14A-6B63053A35FB}" srcId="{ACA7653F-76FF-4175-8C47-C2B074EF83D4}" destId="{05B7EF1E-2046-42CE-87D5-B4F9C02F10BB}" srcOrd="0" destOrd="0" parTransId="{49252DAB-B7C1-4909-898B-29816E9FD774}" sibTransId="{06C27B93-A18F-4A02-86F1-B0B22D420301}"/>
    <dgm:cxn modelId="{11E16128-975B-48F4-8C23-FE57A5126D0D}" type="presOf" srcId="{ACA7653F-76FF-4175-8C47-C2B074EF83D4}" destId="{AF0B0C7E-8EF7-4173-BEBC-2EE7EC90FC47}" srcOrd="0" destOrd="0" presId="urn:microsoft.com/office/officeart/2005/8/layout/vList2"/>
    <dgm:cxn modelId="{ECD1FBCD-59E1-49F7-8CC0-CA98CD101AAF}" type="presParOf" srcId="{AF0B0C7E-8EF7-4173-BEBC-2EE7EC90FC47}" destId="{E9B8DA94-9743-4E85-88FE-F6E90D3F11AD}" srcOrd="0" destOrd="0" presId="urn:microsoft.com/office/officeart/2005/8/layout/vList2"/>
    <dgm:cxn modelId="{9857D356-FEA5-4648-B362-00E0C65FA653}" type="presParOf" srcId="{AF0B0C7E-8EF7-4173-BEBC-2EE7EC90FC47}" destId="{A0A96F57-3BE7-4BC8-B9EC-EA527ADB9A46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9B526F13-CA32-4C7C-8288-53600458708A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C91B7CF4-769A-4254-B26C-3C8F2485C8DE}">
      <dgm:prSet phldrT="[Text]" custT="1"/>
      <dgm:spPr/>
      <dgm:t>
        <a:bodyPr/>
        <a:lstStyle/>
        <a:p>
          <a:r>
            <a:rPr lang="en-US" sz="2000" dirty="0" smtClean="0"/>
            <a:t>Returns the maximum value. $max compares both value and type, using the </a:t>
          </a:r>
          <a:r>
            <a:rPr lang="en-US" sz="2000" b="1" i="1" dirty="0" smtClean="0"/>
            <a:t>specified BSON comparison order</a:t>
          </a:r>
          <a:r>
            <a:rPr lang="en-US" sz="2000" b="1" dirty="0" smtClean="0"/>
            <a:t> </a:t>
          </a:r>
          <a:r>
            <a:rPr lang="en-US" sz="2000" dirty="0" smtClean="0"/>
            <a:t>for values of different types. </a:t>
          </a:r>
          <a:endParaRPr lang="en-US" sz="2000" dirty="0"/>
        </a:p>
      </dgm:t>
    </dgm:pt>
    <dgm:pt modelId="{301AA3C7-5DD7-42CC-9329-B44E9165757E}" type="parTrans" cxnId="{168C9F6A-075A-437A-ADC5-30148FDC6623}">
      <dgm:prSet/>
      <dgm:spPr/>
      <dgm:t>
        <a:bodyPr/>
        <a:lstStyle/>
        <a:p>
          <a:endParaRPr lang="en-US" sz="2000"/>
        </a:p>
      </dgm:t>
    </dgm:pt>
    <dgm:pt modelId="{89DD8D00-D2C2-4497-90E2-4B43B096E6E2}" type="sibTrans" cxnId="{168C9F6A-075A-437A-ADC5-30148FDC6623}">
      <dgm:prSet/>
      <dgm:spPr/>
      <dgm:t>
        <a:bodyPr/>
        <a:lstStyle/>
        <a:p>
          <a:endParaRPr lang="en-US" sz="2000"/>
        </a:p>
      </dgm:t>
    </dgm:pt>
    <dgm:pt modelId="{1365603F-9846-49B3-BE9F-06A6ED275FFE}">
      <dgm:prSet phldrT="[Text]" custT="1"/>
      <dgm:spPr/>
      <dgm:t>
        <a:bodyPr/>
        <a:lstStyle/>
        <a:p>
          <a:r>
            <a:rPr lang="en-US" sz="2000" dirty="0" smtClean="0"/>
            <a:t>Grouping the documents by the item field, the following operation uses the $max accumulator to compute the maximum total amount and maximum quantity for each group of documents.</a:t>
          </a:r>
          <a:endParaRPr lang="en-US" sz="2000" dirty="0"/>
        </a:p>
      </dgm:t>
    </dgm:pt>
    <dgm:pt modelId="{82654628-145B-4E18-9F4F-AA1547B0F8DE}" type="parTrans" cxnId="{704B1B75-5C44-48A6-BC2B-C1ABD09695F0}">
      <dgm:prSet/>
      <dgm:spPr/>
      <dgm:t>
        <a:bodyPr/>
        <a:lstStyle/>
        <a:p>
          <a:endParaRPr lang="en-US" sz="2000"/>
        </a:p>
      </dgm:t>
    </dgm:pt>
    <dgm:pt modelId="{851E12A1-AFD4-42D9-A6D6-C0833B505549}" type="sibTrans" cxnId="{704B1B75-5C44-48A6-BC2B-C1ABD09695F0}">
      <dgm:prSet/>
      <dgm:spPr/>
      <dgm:t>
        <a:bodyPr/>
        <a:lstStyle/>
        <a:p>
          <a:endParaRPr lang="en-US" sz="2000"/>
        </a:p>
      </dgm:t>
    </dgm:pt>
    <dgm:pt modelId="{6A9C9A6A-EAAA-4C93-BD1A-708C688754F2}">
      <dgm:prSet phldrT="[Text]" custT="1"/>
      <dgm:spPr/>
      <dgm:t>
        <a:bodyPr/>
        <a:lstStyle/>
        <a:p>
          <a:r>
            <a:rPr lang="en-US" sz="2000" u="none" dirty="0" smtClean="0"/>
            <a:t>&gt; db.employees.aggregate([{$group:{_id: "$deptinfo._id",maxSal: {$max:"$salary"}}}])</a:t>
          </a:r>
          <a:endParaRPr lang="en-US" sz="2000" dirty="0"/>
        </a:p>
      </dgm:t>
    </dgm:pt>
    <dgm:pt modelId="{3734AC7D-685C-49AC-95D6-4CF59EE1FD86}" type="parTrans" cxnId="{984A90C4-07FB-4261-A07B-5D55D096D8B7}">
      <dgm:prSet/>
      <dgm:spPr/>
      <dgm:t>
        <a:bodyPr/>
        <a:lstStyle/>
        <a:p>
          <a:endParaRPr lang="en-US" sz="2000"/>
        </a:p>
      </dgm:t>
    </dgm:pt>
    <dgm:pt modelId="{E90A1568-BCFE-4CE8-8F2D-FB7203016F5A}" type="sibTrans" cxnId="{984A90C4-07FB-4261-A07B-5D55D096D8B7}">
      <dgm:prSet/>
      <dgm:spPr/>
      <dgm:t>
        <a:bodyPr/>
        <a:lstStyle/>
        <a:p>
          <a:endParaRPr lang="en-US" sz="2000"/>
        </a:p>
      </dgm:t>
    </dgm:pt>
    <dgm:pt modelId="{E5FE58FD-0BE8-4F2B-8687-773CB68EB94B}" type="pres">
      <dgm:prSet presAssocID="{9B526F13-CA32-4C7C-8288-53600458708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A0640DF-5F40-40FF-B7E2-BFDEEB29A85A}" type="pres">
      <dgm:prSet presAssocID="{C91B7CF4-769A-4254-B26C-3C8F2485C8DE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5C61D0-0B43-47DC-9C52-ADE07FCF6CB2}" type="pres">
      <dgm:prSet presAssocID="{89DD8D00-D2C2-4497-90E2-4B43B096E6E2}" presName="spacer" presStyleCnt="0"/>
      <dgm:spPr/>
    </dgm:pt>
    <dgm:pt modelId="{EE0C60C3-CCE6-4F9D-8D11-EA6C4E0C6036}" type="pres">
      <dgm:prSet presAssocID="{1365603F-9846-49B3-BE9F-06A6ED275FFE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4217B8-2AF4-4E4F-B67E-5B135E8A7408}" type="pres">
      <dgm:prSet presAssocID="{1365603F-9846-49B3-BE9F-06A6ED275FFE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342C9B5-C068-4DB5-90D1-C70B637C44EC}" type="presOf" srcId="{1365603F-9846-49B3-BE9F-06A6ED275FFE}" destId="{EE0C60C3-CCE6-4F9D-8D11-EA6C4E0C6036}" srcOrd="0" destOrd="0" presId="urn:microsoft.com/office/officeart/2005/8/layout/vList2"/>
    <dgm:cxn modelId="{63E64CEC-E9D0-43C9-915E-3674ADEC59BF}" type="presOf" srcId="{6A9C9A6A-EAAA-4C93-BD1A-708C688754F2}" destId="{F04217B8-2AF4-4E4F-B67E-5B135E8A7408}" srcOrd="0" destOrd="0" presId="urn:microsoft.com/office/officeart/2005/8/layout/vList2"/>
    <dgm:cxn modelId="{168C9F6A-075A-437A-ADC5-30148FDC6623}" srcId="{9B526F13-CA32-4C7C-8288-53600458708A}" destId="{C91B7CF4-769A-4254-B26C-3C8F2485C8DE}" srcOrd="0" destOrd="0" parTransId="{301AA3C7-5DD7-42CC-9329-B44E9165757E}" sibTransId="{89DD8D00-D2C2-4497-90E2-4B43B096E6E2}"/>
    <dgm:cxn modelId="{38908CFC-B9C5-4AEF-9653-1D05B6C74CEE}" type="presOf" srcId="{C91B7CF4-769A-4254-B26C-3C8F2485C8DE}" destId="{9A0640DF-5F40-40FF-B7E2-BFDEEB29A85A}" srcOrd="0" destOrd="0" presId="urn:microsoft.com/office/officeart/2005/8/layout/vList2"/>
    <dgm:cxn modelId="{984A90C4-07FB-4261-A07B-5D55D096D8B7}" srcId="{1365603F-9846-49B3-BE9F-06A6ED275FFE}" destId="{6A9C9A6A-EAAA-4C93-BD1A-708C688754F2}" srcOrd="0" destOrd="0" parTransId="{3734AC7D-685C-49AC-95D6-4CF59EE1FD86}" sibTransId="{E90A1568-BCFE-4CE8-8F2D-FB7203016F5A}"/>
    <dgm:cxn modelId="{3DC62C7D-0594-4C00-B568-D4B66C6F3068}" type="presOf" srcId="{9B526F13-CA32-4C7C-8288-53600458708A}" destId="{E5FE58FD-0BE8-4F2B-8687-773CB68EB94B}" srcOrd="0" destOrd="0" presId="urn:microsoft.com/office/officeart/2005/8/layout/vList2"/>
    <dgm:cxn modelId="{704B1B75-5C44-48A6-BC2B-C1ABD09695F0}" srcId="{9B526F13-CA32-4C7C-8288-53600458708A}" destId="{1365603F-9846-49B3-BE9F-06A6ED275FFE}" srcOrd="1" destOrd="0" parTransId="{82654628-145B-4E18-9F4F-AA1547B0F8DE}" sibTransId="{851E12A1-AFD4-42D9-A6D6-C0833B505549}"/>
    <dgm:cxn modelId="{4FEB9445-99CA-4EC9-92DD-8E1F4AA72EC4}" type="presParOf" srcId="{E5FE58FD-0BE8-4F2B-8687-773CB68EB94B}" destId="{9A0640DF-5F40-40FF-B7E2-BFDEEB29A85A}" srcOrd="0" destOrd="0" presId="urn:microsoft.com/office/officeart/2005/8/layout/vList2"/>
    <dgm:cxn modelId="{28CA4DC9-64C2-4232-A9FC-B8C72D3A247C}" type="presParOf" srcId="{E5FE58FD-0BE8-4F2B-8687-773CB68EB94B}" destId="{015C61D0-0B43-47DC-9C52-ADE07FCF6CB2}" srcOrd="1" destOrd="0" presId="urn:microsoft.com/office/officeart/2005/8/layout/vList2"/>
    <dgm:cxn modelId="{A1206F64-567C-4941-98C8-04AF62A8F548}" type="presParOf" srcId="{E5FE58FD-0BE8-4F2B-8687-773CB68EB94B}" destId="{EE0C60C3-CCE6-4F9D-8D11-EA6C4E0C6036}" srcOrd="2" destOrd="0" presId="urn:microsoft.com/office/officeart/2005/8/layout/vList2"/>
    <dgm:cxn modelId="{F77284DC-02A1-41EA-BBB4-1DD8BE5AA1CC}" type="presParOf" srcId="{E5FE58FD-0BE8-4F2B-8687-773CB68EB94B}" destId="{F04217B8-2AF4-4E4F-B67E-5B135E8A7408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B77B9CD2-873C-4743-AACF-DBB1FAEBA0F5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C734525A-1AA7-48FE-A2C3-50B5A57D01C5}">
      <dgm:prSet phldrT="[Text]" custT="1"/>
      <dgm:spPr/>
      <dgm:t>
        <a:bodyPr/>
        <a:lstStyle/>
        <a:p>
          <a:r>
            <a:rPr lang="en-US" sz="2000" dirty="0" smtClean="0"/>
            <a:t>Returns the minimum value. $min compares both value and type, using the </a:t>
          </a:r>
          <a:r>
            <a:rPr lang="en-US" sz="2000" b="1" i="1" dirty="0" smtClean="0"/>
            <a:t>specified BSON comparison order </a:t>
          </a:r>
          <a:r>
            <a:rPr lang="en-US" sz="2000" dirty="0" smtClean="0"/>
            <a:t>for values of different types.</a:t>
          </a:r>
          <a:endParaRPr lang="en-US" sz="2000" dirty="0"/>
        </a:p>
      </dgm:t>
    </dgm:pt>
    <dgm:pt modelId="{E366D01A-0A8D-44BB-9CCD-7DDA6278D315}" type="parTrans" cxnId="{2F1C5ACC-5111-4834-94AF-C235D711E891}">
      <dgm:prSet/>
      <dgm:spPr/>
      <dgm:t>
        <a:bodyPr/>
        <a:lstStyle/>
        <a:p>
          <a:endParaRPr lang="en-US" sz="2000"/>
        </a:p>
      </dgm:t>
    </dgm:pt>
    <dgm:pt modelId="{8FD028CA-05D2-4EF0-8774-A540A14C1618}" type="sibTrans" cxnId="{2F1C5ACC-5111-4834-94AF-C235D711E891}">
      <dgm:prSet/>
      <dgm:spPr/>
      <dgm:t>
        <a:bodyPr/>
        <a:lstStyle/>
        <a:p>
          <a:endParaRPr lang="en-US" sz="2000"/>
        </a:p>
      </dgm:t>
    </dgm:pt>
    <dgm:pt modelId="{30050676-A827-4096-82EC-AD3B7E1D3915}">
      <dgm:prSet phldrT="[Text]" custT="1"/>
      <dgm:spPr/>
      <dgm:t>
        <a:bodyPr/>
        <a:lstStyle/>
        <a:p>
          <a:r>
            <a:rPr lang="en-US" sz="2000" dirty="0" smtClean="0"/>
            <a:t>Grouping the documents by the item field, the following operation uses the $min accumulator to compute the minimum amount and minimum quantity for each grouping.</a:t>
          </a:r>
          <a:endParaRPr lang="en-US" sz="2000" dirty="0"/>
        </a:p>
      </dgm:t>
    </dgm:pt>
    <dgm:pt modelId="{0422CAD7-FF6A-4D71-A74E-F17F960CC1A4}" type="parTrans" cxnId="{F38F2029-A4EF-4D3C-BAF4-2C0F2B194CBD}">
      <dgm:prSet/>
      <dgm:spPr/>
      <dgm:t>
        <a:bodyPr/>
        <a:lstStyle/>
        <a:p>
          <a:endParaRPr lang="en-US" sz="2000"/>
        </a:p>
      </dgm:t>
    </dgm:pt>
    <dgm:pt modelId="{19FFB17D-9C35-4991-8343-A6A950AAFCE7}" type="sibTrans" cxnId="{F38F2029-A4EF-4D3C-BAF4-2C0F2B194CBD}">
      <dgm:prSet/>
      <dgm:spPr/>
      <dgm:t>
        <a:bodyPr/>
        <a:lstStyle/>
        <a:p>
          <a:endParaRPr lang="en-US" sz="2000"/>
        </a:p>
      </dgm:t>
    </dgm:pt>
    <dgm:pt modelId="{EBC60CBE-31BE-48FA-90B2-BF757D6B28D0}">
      <dgm:prSet phldrT="[Text]" custT="1"/>
      <dgm:spPr/>
      <dgm:t>
        <a:bodyPr/>
        <a:lstStyle/>
        <a:p>
          <a:endParaRPr lang="en-US" sz="2000" dirty="0"/>
        </a:p>
      </dgm:t>
    </dgm:pt>
    <dgm:pt modelId="{0565F533-96E8-4893-AF2E-E08C9DF8327D}" type="parTrans" cxnId="{0BACEA21-625A-4CAB-B9E5-18EE79D3159B}">
      <dgm:prSet/>
      <dgm:spPr/>
      <dgm:t>
        <a:bodyPr/>
        <a:lstStyle/>
        <a:p>
          <a:endParaRPr lang="en-US" sz="2000"/>
        </a:p>
      </dgm:t>
    </dgm:pt>
    <dgm:pt modelId="{EB236200-2733-4E84-AF1E-82F838BA7D05}" type="sibTrans" cxnId="{0BACEA21-625A-4CAB-B9E5-18EE79D3159B}">
      <dgm:prSet/>
      <dgm:spPr/>
      <dgm:t>
        <a:bodyPr/>
        <a:lstStyle/>
        <a:p>
          <a:endParaRPr lang="en-US" sz="2000"/>
        </a:p>
      </dgm:t>
    </dgm:pt>
    <dgm:pt modelId="{C94AFE14-5EA2-4A97-A189-7909B8CEE1FC}" type="pres">
      <dgm:prSet presAssocID="{B77B9CD2-873C-4743-AACF-DBB1FAEBA0F5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22E9370-E437-41F3-A34F-DCB8A6262164}" type="pres">
      <dgm:prSet presAssocID="{C734525A-1AA7-48FE-A2C3-50B5A57D01C5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6B9EDA-279B-408B-A74B-EA315E5CA9CD}" type="pres">
      <dgm:prSet presAssocID="{8FD028CA-05D2-4EF0-8774-A540A14C1618}" presName="spacer" presStyleCnt="0"/>
      <dgm:spPr/>
    </dgm:pt>
    <dgm:pt modelId="{54629B3F-2074-4038-B5D4-E191ED268371}" type="pres">
      <dgm:prSet presAssocID="{30050676-A827-4096-82EC-AD3B7E1D3915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98D3A4-D3B1-431C-9077-DB85AD919DDC}" type="pres">
      <dgm:prSet presAssocID="{30050676-A827-4096-82EC-AD3B7E1D3915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F1C5ACC-5111-4834-94AF-C235D711E891}" srcId="{B77B9CD2-873C-4743-AACF-DBB1FAEBA0F5}" destId="{C734525A-1AA7-48FE-A2C3-50B5A57D01C5}" srcOrd="0" destOrd="0" parTransId="{E366D01A-0A8D-44BB-9CCD-7DDA6278D315}" sibTransId="{8FD028CA-05D2-4EF0-8774-A540A14C1618}"/>
    <dgm:cxn modelId="{56E6BBE2-9802-4092-AC79-F98195316765}" type="presOf" srcId="{B77B9CD2-873C-4743-AACF-DBB1FAEBA0F5}" destId="{C94AFE14-5EA2-4A97-A189-7909B8CEE1FC}" srcOrd="0" destOrd="0" presId="urn:microsoft.com/office/officeart/2005/8/layout/vList2"/>
    <dgm:cxn modelId="{FC1D1004-73AD-4D1B-ADDE-08989ACC61BE}" type="presOf" srcId="{C734525A-1AA7-48FE-A2C3-50B5A57D01C5}" destId="{A22E9370-E437-41F3-A34F-DCB8A6262164}" srcOrd="0" destOrd="0" presId="urn:microsoft.com/office/officeart/2005/8/layout/vList2"/>
    <dgm:cxn modelId="{C72B6671-BCAA-47FA-9A88-9DD54C9A51B8}" type="presOf" srcId="{EBC60CBE-31BE-48FA-90B2-BF757D6B28D0}" destId="{B898D3A4-D3B1-431C-9077-DB85AD919DDC}" srcOrd="0" destOrd="0" presId="urn:microsoft.com/office/officeart/2005/8/layout/vList2"/>
    <dgm:cxn modelId="{0BACEA21-625A-4CAB-B9E5-18EE79D3159B}" srcId="{30050676-A827-4096-82EC-AD3B7E1D3915}" destId="{EBC60CBE-31BE-48FA-90B2-BF757D6B28D0}" srcOrd="0" destOrd="0" parTransId="{0565F533-96E8-4893-AF2E-E08C9DF8327D}" sibTransId="{EB236200-2733-4E84-AF1E-82F838BA7D05}"/>
    <dgm:cxn modelId="{F38F2029-A4EF-4D3C-BAF4-2C0F2B194CBD}" srcId="{B77B9CD2-873C-4743-AACF-DBB1FAEBA0F5}" destId="{30050676-A827-4096-82EC-AD3B7E1D3915}" srcOrd="1" destOrd="0" parTransId="{0422CAD7-FF6A-4D71-A74E-F17F960CC1A4}" sibTransId="{19FFB17D-9C35-4991-8343-A6A950AAFCE7}"/>
    <dgm:cxn modelId="{E45F547B-CCA1-4B71-A855-733094EAB4D6}" type="presOf" srcId="{30050676-A827-4096-82EC-AD3B7E1D3915}" destId="{54629B3F-2074-4038-B5D4-E191ED268371}" srcOrd="0" destOrd="0" presId="urn:microsoft.com/office/officeart/2005/8/layout/vList2"/>
    <dgm:cxn modelId="{D2F3F393-6235-42EF-89ED-7B62A037003D}" type="presParOf" srcId="{C94AFE14-5EA2-4A97-A189-7909B8CEE1FC}" destId="{A22E9370-E437-41F3-A34F-DCB8A6262164}" srcOrd="0" destOrd="0" presId="urn:microsoft.com/office/officeart/2005/8/layout/vList2"/>
    <dgm:cxn modelId="{C95508F8-ABC5-4F46-B097-EBDBA59929A6}" type="presParOf" srcId="{C94AFE14-5EA2-4A97-A189-7909B8CEE1FC}" destId="{3F6B9EDA-279B-408B-A74B-EA315E5CA9CD}" srcOrd="1" destOrd="0" presId="urn:microsoft.com/office/officeart/2005/8/layout/vList2"/>
    <dgm:cxn modelId="{103A6BDB-4DAB-4B55-A027-2E608F832BD5}" type="presParOf" srcId="{C94AFE14-5EA2-4A97-A189-7909B8CEE1FC}" destId="{54629B3F-2074-4038-B5D4-E191ED268371}" srcOrd="2" destOrd="0" presId="urn:microsoft.com/office/officeart/2005/8/layout/vList2"/>
    <dgm:cxn modelId="{E43E5E47-9600-4C65-87CD-2073B5AFC239}" type="presParOf" srcId="{C94AFE14-5EA2-4A97-A189-7909B8CEE1FC}" destId="{B898D3A4-D3B1-431C-9077-DB85AD919DD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5988072E-3A67-4D2A-9DBD-D7937D79A145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5E914EB4-3BD1-4363-87D0-1E70A48B106F}">
      <dgm:prSet phldrT="[Text]" custT="1"/>
      <dgm:spPr/>
      <dgm:t>
        <a:bodyPr/>
        <a:lstStyle/>
        <a:p>
          <a:r>
            <a:rPr lang="en-US" sz="2000" dirty="0" smtClean="0"/>
            <a:t>Returns an array of </a:t>
          </a:r>
          <a:r>
            <a:rPr lang="en-US" sz="2000" i="1" dirty="0" smtClean="0"/>
            <a:t>all</a:t>
          </a:r>
          <a:r>
            <a:rPr lang="en-US" sz="2000" dirty="0" smtClean="0"/>
            <a:t> values that result from applying an expression to each document in a group of documents that share the same group by key.</a:t>
          </a:r>
          <a:endParaRPr lang="en-US" sz="2000" dirty="0"/>
        </a:p>
      </dgm:t>
    </dgm:pt>
    <dgm:pt modelId="{69E7F3B0-1F05-4530-959A-E409DBBFE0B4}" type="parTrans" cxnId="{C8563A54-BA75-45BC-A405-E628BD13DB9D}">
      <dgm:prSet/>
      <dgm:spPr/>
      <dgm:t>
        <a:bodyPr/>
        <a:lstStyle/>
        <a:p>
          <a:endParaRPr lang="en-US" sz="2000"/>
        </a:p>
      </dgm:t>
    </dgm:pt>
    <dgm:pt modelId="{25846809-C5A5-4DB7-89AE-12B1CEAB541F}" type="sibTrans" cxnId="{C8563A54-BA75-45BC-A405-E628BD13DB9D}">
      <dgm:prSet/>
      <dgm:spPr/>
      <dgm:t>
        <a:bodyPr/>
        <a:lstStyle/>
        <a:p>
          <a:endParaRPr lang="en-US" sz="2000"/>
        </a:p>
      </dgm:t>
    </dgm:pt>
    <dgm:pt modelId="{58125C9D-C7A0-485B-BBBA-0734D1F912A0}">
      <dgm:prSet phldrT="[Text]" custT="1"/>
      <dgm:spPr/>
      <dgm:t>
        <a:bodyPr/>
        <a:lstStyle/>
        <a:p>
          <a:r>
            <a:rPr lang="en-US" sz="2000" dirty="0" smtClean="0"/>
            <a:t>Grouping the documents by the day and the year of the date field, the following operation uses the $push accumulator to compute the list of items and quantities sold for each group:</a:t>
          </a:r>
          <a:endParaRPr lang="en-US" sz="2000" dirty="0"/>
        </a:p>
      </dgm:t>
    </dgm:pt>
    <dgm:pt modelId="{222AA95B-81B9-427A-BAE9-B5B6420FE355}" type="parTrans" cxnId="{A4CE7592-24B8-48C7-BEC1-DB85122B55DD}">
      <dgm:prSet/>
      <dgm:spPr/>
      <dgm:t>
        <a:bodyPr/>
        <a:lstStyle/>
        <a:p>
          <a:endParaRPr lang="en-US" sz="2000"/>
        </a:p>
      </dgm:t>
    </dgm:pt>
    <dgm:pt modelId="{4D95C509-7275-4D0C-8433-A8A5F9215959}" type="sibTrans" cxnId="{A4CE7592-24B8-48C7-BEC1-DB85122B55DD}">
      <dgm:prSet/>
      <dgm:spPr/>
      <dgm:t>
        <a:bodyPr/>
        <a:lstStyle/>
        <a:p>
          <a:endParaRPr lang="en-US" sz="2000"/>
        </a:p>
      </dgm:t>
    </dgm:pt>
    <dgm:pt modelId="{5F32FE4B-6CDC-47F6-885E-5CA34D3A5C6A}">
      <dgm:prSet phldrT="[Text]" custT="1"/>
      <dgm:spPr/>
      <dgm:t>
        <a:bodyPr/>
        <a:lstStyle/>
        <a:p>
          <a:r>
            <a:rPr lang="en-US" sz="2000" dirty="0" smtClean="0"/>
            <a:t>db.employees.aggregate([{$group:{_id:"$deptinfo._id",ListOfEmp:{$push:{fname:"$firstname",lname:"$lastname"}}}}]).pretty()</a:t>
          </a:r>
          <a:endParaRPr lang="en-US" sz="2000" dirty="0"/>
        </a:p>
      </dgm:t>
    </dgm:pt>
    <dgm:pt modelId="{E6803502-4D1D-48C0-8FE6-F5C1A0EF1A13}" type="parTrans" cxnId="{1AF5C910-2977-4B3E-9DB6-5C2AC457E493}">
      <dgm:prSet/>
      <dgm:spPr/>
      <dgm:t>
        <a:bodyPr/>
        <a:lstStyle/>
        <a:p>
          <a:endParaRPr lang="en-US" sz="2000"/>
        </a:p>
      </dgm:t>
    </dgm:pt>
    <dgm:pt modelId="{AA4C4C6B-F5AE-4561-8023-C0C13889903F}" type="sibTrans" cxnId="{1AF5C910-2977-4B3E-9DB6-5C2AC457E493}">
      <dgm:prSet/>
      <dgm:spPr/>
      <dgm:t>
        <a:bodyPr/>
        <a:lstStyle/>
        <a:p>
          <a:endParaRPr lang="en-US" sz="2000"/>
        </a:p>
      </dgm:t>
    </dgm:pt>
    <dgm:pt modelId="{DD5A1506-55B6-4255-80D6-2B6C308F454C}" type="pres">
      <dgm:prSet presAssocID="{5988072E-3A67-4D2A-9DBD-D7937D79A145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70465EE-15F9-46EF-B4DE-EAED1DA82C2C}" type="pres">
      <dgm:prSet presAssocID="{5E914EB4-3BD1-4363-87D0-1E70A48B106F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3E6815-3226-4847-ABC2-1765BE6D7A80}" type="pres">
      <dgm:prSet presAssocID="{25846809-C5A5-4DB7-89AE-12B1CEAB541F}" presName="spacer" presStyleCnt="0"/>
      <dgm:spPr/>
    </dgm:pt>
    <dgm:pt modelId="{911E46D3-70AC-4063-AC4D-51029B948722}" type="pres">
      <dgm:prSet presAssocID="{58125C9D-C7A0-485B-BBBA-0734D1F912A0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E3C8E24-B3F6-46C9-90A7-7287198E379F}" type="pres">
      <dgm:prSet presAssocID="{58125C9D-C7A0-485B-BBBA-0734D1F912A0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4CE7592-24B8-48C7-BEC1-DB85122B55DD}" srcId="{5988072E-3A67-4D2A-9DBD-D7937D79A145}" destId="{58125C9D-C7A0-485B-BBBA-0734D1F912A0}" srcOrd="1" destOrd="0" parTransId="{222AA95B-81B9-427A-BAE9-B5B6420FE355}" sibTransId="{4D95C509-7275-4D0C-8433-A8A5F9215959}"/>
    <dgm:cxn modelId="{FD940E98-4540-46E5-89F8-E3C6779CFF29}" type="presOf" srcId="{5E914EB4-3BD1-4363-87D0-1E70A48B106F}" destId="{670465EE-15F9-46EF-B4DE-EAED1DA82C2C}" srcOrd="0" destOrd="0" presId="urn:microsoft.com/office/officeart/2005/8/layout/vList2"/>
    <dgm:cxn modelId="{C8563A54-BA75-45BC-A405-E628BD13DB9D}" srcId="{5988072E-3A67-4D2A-9DBD-D7937D79A145}" destId="{5E914EB4-3BD1-4363-87D0-1E70A48B106F}" srcOrd="0" destOrd="0" parTransId="{69E7F3B0-1F05-4530-959A-E409DBBFE0B4}" sibTransId="{25846809-C5A5-4DB7-89AE-12B1CEAB541F}"/>
    <dgm:cxn modelId="{568B5DCC-96CF-4A58-AAE3-4134344EA1A3}" type="presOf" srcId="{58125C9D-C7A0-485B-BBBA-0734D1F912A0}" destId="{911E46D3-70AC-4063-AC4D-51029B948722}" srcOrd="0" destOrd="0" presId="urn:microsoft.com/office/officeart/2005/8/layout/vList2"/>
    <dgm:cxn modelId="{8FA0B79F-B159-4FFA-BD70-449C66D2B257}" type="presOf" srcId="{5988072E-3A67-4D2A-9DBD-D7937D79A145}" destId="{DD5A1506-55B6-4255-80D6-2B6C308F454C}" srcOrd="0" destOrd="0" presId="urn:microsoft.com/office/officeart/2005/8/layout/vList2"/>
    <dgm:cxn modelId="{DF88BE17-D221-4295-9315-E1F7982828D6}" type="presOf" srcId="{5F32FE4B-6CDC-47F6-885E-5CA34D3A5C6A}" destId="{2E3C8E24-B3F6-46C9-90A7-7287198E379F}" srcOrd="0" destOrd="0" presId="urn:microsoft.com/office/officeart/2005/8/layout/vList2"/>
    <dgm:cxn modelId="{1AF5C910-2977-4B3E-9DB6-5C2AC457E493}" srcId="{58125C9D-C7A0-485B-BBBA-0734D1F912A0}" destId="{5F32FE4B-6CDC-47F6-885E-5CA34D3A5C6A}" srcOrd="0" destOrd="0" parTransId="{E6803502-4D1D-48C0-8FE6-F5C1A0EF1A13}" sibTransId="{AA4C4C6B-F5AE-4561-8023-C0C13889903F}"/>
    <dgm:cxn modelId="{BC509D0C-5A97-4FDF-B593-B8A9EBF9F308}" type="presParOf" srcId="{DD5A1506-55B6-4255-80D6-2B6C308F454C}" destId="{670465EE-15F9-46EF-B4DE-EAED1DA82C2C}" srcOrd="0" destOrd="0" presId="urn:microsoft.com/office/officeart/2005/8/layout/vList2"/>
    <dgm:cxn modelId="{A1181BDC-92DC-4A46-82FE-4296369D23E2}" type="presParOf" srcId="{DD5A1506-55B6-4255-80D6-2B6C308F454C}" destId="{2F3E6815-3226-4847-ABC2-1765BE6D7A80}" srcOrd="1" destOrd="0" presId="urn:microsoft.com/office/officeart/2005/8/layout/vList2"/>
    <dgm:cxn modelId="{DECB956B-FF7C-490D-B002-EEDB64FE5FDC}" type="presParOf" srcId="{DD5A1506-55B6-4255-80D6-2B6C308F454C}" destId="{911E46D3-70AC-4063-AC4D-51029B948722}" srcOrd="2" destOrd="0" presId="urn:microsoft.com/office/officeart/2005/8/layout/vList2"/>
    <dgm:cxn modelId="{E026786F-CEF1-496B-93DF-3BC002491615}" type="presParOf" srcId="{DD5A1506-55B6-4255-80D6-2B6C308F454C}" destId="{2E3C8E24-B3F6-46C9-90A7-7287198E379F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65514A74-8805-41B6-9703-8B0F68D23D01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7C56560E-60F7-48B3-95E3-169DC3ACAC24}">
      <dgm:prSet phldrT="[Text]" custT="1"/>
      <dgm:spPr/>
      <dgm:t>
        <a:bodyPr/>
        <a:lstStyle/>
        <a:p>
          <a:r>
            <a:rPr lang="en-US" sz="2000" dirty="0" smtClean="0"/>
            <a:t>Returns an array of all </a:t>
          </a:r>
          <a:r>
            <a:rPr lang="en-US" sz="2000" i="1" dirty="0" smtClean="0"/>
            <a:t>unique</a:t>
          </a:r>
          <a:r>
            <a:rPr lang="en-US" sz="2000" dirty="0" smtClean="0"/>
            <a:t> values that results from applying an expression to each document in a group of documents that share the same group by key. Order of the elements in the output array is unspecified.</a:t>
          </a:r>
          <a:endParaRPr lang="en-US" sz="2000" dirty="0"/>
        </a:p>
      </dgm:t>
    </dgm:pt>
    <dgm:pt modelId="{E1721986-75F5-418D-BEC5-85F4694B5A37}" type="parTrans" cxnId="{498673A8-5A50-4E5D-8BA6-6E5BFE7471F2}">
      <dgm:prSet/>
      <dgm:spPr/>
      <dgm:t>
        <a:bodyPr/>
        <a:lstStyle/>
        <a:p>
          <a:endParaRPr lang="en-US" sz="2000"/>
        </a:p>
      </dgm:t>
    </dgm:pt>
    <dgm:pt modelId="{E52799D1-6262-444F-B76A-FB7F7AB47CEE}" type="sibTrans" cxnId="{498673A8-5A50-4E5D-8BA6-6E5BFE7471F2}">
      <dgm:prSet/>
      <dgm:spPr/>
      <dgm:t>
        <a:bodyPr/>
        <a:lstStyle/>
        <a:p>
          <a:endParaRPr lang="en-US" sz="2000"/>
        </a:p>
      </dgm:t>
    </dgm:pt>
    <dgm:pt modelId="{DBFA241E-BC72-42F6-876A-7F74291486BD}">
      <dgm:prSet phldrT="[Text]" custT="1"/>
      <dgm:spPr/>
      <dgm:t>
        <a:bodyPr/>
        <a:lstStyle/>
        <a:p>
          <a:r>
            <a:rPr lang="en-US" sz="2000" dirty="0" smtClean="0"/>
            <a:t>If the value of the expression is an array, $addToSet appends the whole array as a </a:t>
          </a:r>
          <a:r>
            <a:rPr lang="en-US" sz="2000" i="1" dirty="0" smtClean="0"/>
            <a:t>single</a:t>
          </a:r>
          <a:r>
            <a:rPr lang="en-US" sz="2000" dirty="0" smtClean="0"/>
            <a:t> element.</a:t>
          </a:r>
          <a:endParaRPr lang="en-US" sz="2000" dirty="0"/>
        </a:p>
      </dgm:t>
    </dgm:pt>
    <dgm:pt modelId="{2D6B3DA1-F3C4-4189-9C85-4553FF8168B8}" type="parTrans" cxnId="{51E87D18-E6A9-4158-9853-9FC393D5DBAE}">
      <dgm:prSet/>
      <dgm:spPr/>
      <dgm:t>
        <a:bodyPr/>
        <a:lstStyle/>
        <a:p>
          <a:endParaRPr lang="en-US" sz="2000"/>
        </a:p>
      </dgm:t>
    </dgm:pt>
    <dgm:pt modelId="{1AE73031-0F25-4BF1-8711-411439E1A97C}" type="sibTrans" cxnId="{51E87D18-E6A9-4158-9853-9FC393D5DBAE}">
      <dgm:prSet/>
      <dgm:spPr/>
      <dgm:t>
        <a:bodyPr/>
        <a:lstStyle/>
        <a:p>
          <a:endParaRPr lang="en-US" sz="2000"/>
        </a:p>
      </dgm:t>
    </dgm:pt>
    <dgm:pt modelId="{FD11919C-0E6F-4F1A-8E33-629D77CE743F}">
      <dgm:prSet phldrT="[Text]" custT="1"/>
      <dgm:spPr/>
      <dgm:t>
        <a:bodyPr/>
        <a:lstStyle/>
        <a:p>
          <a:r>
            <a:rPr lang="en-US" sz="2000" dirty="0" smtClean="0"/>
            <a:t>If the value of the expression is a document, MongoDB determines that the document is a duplicate if another document in the array matches the to-be-added document exactly; i.e. the existing document has the exact same fields and values in the exact same order.</a:t>
          </a:r>
          <a:endParaRPr lang="en-US" sz="2000" dirty="0"/>
        </a:p>
      </dgm:t>
    </dgm:pt>
    <dgm:pt modelId="{BBF1FE6C-FD61-4E88-B07A-31DF42B9592C}" type="parTrans" cxnId="{2EE61113-4E83-426E-8E1E-75C62E0CB9C8}">
      <dgm:prSet/>
      <dgm:spPr/>
      <dgm:t>
        <a:bodyPr/>
        <a:lstStyle/>
        <a:p>
          <a:endParaRPr lang="en-US" sz="2000"/>
        </a:p>
      </dgm:t>
    </dgm:pt>
    <dgm:pt modelId="{BFDD311E-9C70-477A-90EC-3C9BED524068}" type="sibTrans" cxnId="{2EE61113-4E83-426E-8E1E-75C62E0CB9C8}">
      <dgm:prSet/>
      <dgm:spPr/>
      <dgm:t>
        <a:bodyPr/>
        <a:lstStyle/>
        <a:p>
          <a:endParaRPr lang="en-US" sz="2000"/>
        </a:p>
      </dgm:t>
    </dgm:pt>
    <dgm:pt modelId="{9B95ED88-463A-4C0D-9665-1809147C075B}" type="pres">
      <dgm:prSet presAssocID="{65514A74-8805-41B6-9703-8B0F68D23D0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BC002C8-E256-4EB8-86E9-B9F604F6D23E}" type="pres">
      <dgm:prSet presAssocID="{7C56560E-60F7-48B3-95E3-169DC3ACAC24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A3DDBC-9D2B-4C01-ACAE-C53C78B07196}" type="pres">
      <dgm:prSet presAssocID="{E52799D1-6262-444F-B76A-FB7F7AB47CEE}" presName="spacer" presStyleCnt="0"/>
      <dgm:spPr/>
    </dgm:pt>
    <dgm:pt modelId="{F9B1423D-79E9-466E-B1F1-322C06A321E2}" type="pres">
      <dgm:prSet presAssocID="{DBFA241E-BC72-42F6-876A-7F74291486BD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01252D9-366D-4730-93BC-F00FF6531E1C}" type="pres">
      <dgm:prSet presAssocID="{1AE73031-0F25-4BF1-8711-411439E1A97C}" presName="spacer" presStyleCnt="0"/>
      <dgm:spPr/>
    </dgm:pt>
    <dgm:pt modelId="{E885BC8A-173D-48A5-80DF-DD75FAC8A6F1}" type="pres">
      <dgm:prSet presAssocID="{FD11919C-0E6F-4F1A-8E33-629D77CE743F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08AE43D-6B9C-44F8-91F1-59C71CB2C216}" type="presOf" srcId="{7C56560E-60F7-48B3-95E3-169DC3ACAC24}" destId="{EBC002C8-E256-4EB8-86E9-B9F604F6D23E}" srcOrd="0" destOrd="0" presId="urn:microsoft.com/office/officeart/2005/8/layout/vList2"/>
    <dgm:cxn modelId="{51E87D18-E6A9-4158-9853-9FC393D5DBAE}" srcId="{65514A74-8805-41B6-9703-8B0F68D23D01}" destId="{DBFA241E-BC72-42F6-876A-7F74291486BD}" srcOrd="1" destOrd="0" parTransId="{2D6B3DA1-F3C4-4189-9C85-4553FF8168B8}" sibTransId="{1AE73031-0F25-4BF1-8711-411439E1A97C}"/>
    <dgm:cxn modelId="{B8667C50-86A5-4EF9-B520-5E84580F12F4}" type="presOf" srcId="{DBFA241E-BC72-42F6-876A-7F74291486BD}" destId="{F9B1423D-79E9-466E-B1F1-322C06A321E2}" srcOrd="0" destOrd="0" presId="urn:microsoft.com/office/officeart/2005/8/layout/vList2"/>
    <dgm:cxn modelId="{3A670BDF-1EF7-4661-8343-061F5F88D52F}" type="presOf" srcId="{FD11919C-0E6F-4F1A-8E33-629D77CE743F}" destId="{E885BC8A-173D-48A5-80DF-DD75FAC8A6F1}" srcOrd="0" destOrd="0" presId="urn:microsoft.com/office/officeart/2005/8/layout/vList2"/>
    <dgm:cxn modelId="{2EE61113-4E83-426E-8E1E-75C62E0CB9C8}" srcId="{65514A74-8805-41B6-9703-8B0F68D23D01}" destId="{FD11919C-0E6F-4F1A-8E33-629D77CE743F}" srcOrd="2" destOrd="0" parTransId="{BBF1FE6C-FD61-4E88-B07A-31DF42B9592C}" sibTransId="{BFDD311E-9C70-477A-90EC-3C9BED524068}"/>
    <dgm:cxn modelId="{498673A8-5A50-4E5D-8BA6-6E5BFE7471F2}" srcId="{65514A74-8805-41B6-9703-8B0F68D23D01}" destId="{7C56560E-60F7-48B3-95E3-169DC3ACAC24}" srcOrd="0" destOrd="0" parTransId="{E1721986-75F5-418D-BEC5-85F4694B5A37}" sibTransId="{E52799D1-6262-444F-B76A-FB7F7AB47CEE}"/>
    <dgm:cxn modelId="{B9CAA344-989F-4F66-947B-C4EAF438BEFB}" type="presOf" srcId="{65514A74-8805-41B6-9703-8B0F68D23D01}" destId="{9B95ED88-463A-4C0D-9665-1809147C075B}" srcOrd="0" destOrd="0" presId="urn:microsoft.com/office/officeart/2005/8/layout/vList2"/>
    <dgm:cxn modelId="{9DE3E217-8AC2-4E31-94E1-2A5A8F44799B}" type="presParOf" srcId="{9B95ED88-463A-4C0D-9665-1809147C075B}" destId="{EBC002C8-E256-4EB8-86E9-B9F604F6D23E}" srcOrd="0" destOrd="0" presId="urn:microsoft.com/office/officeart/2005/8/layout/vList2"/>
    <dgm:cxn modelId="{67FECD2A-8ADF-4447-8DB3-4C2B1C236CF3}" type="presParOf" srcId="{9B95ED88-463A-4C0D-9665-1809147C075B}" destId="{9EA3DDBC-9D2B-4C01-ACAE-C53C78B07196}" srcOrd="1" destOrd="0" presId="urn:microsoft.com/office/officeart/2005/8/layout/vList2"/>
    <dgm:cxn modelId="{969F9D00-6C46-4501-8359-3D67CB051649}" type="presParOf" srcId="{9B95ED88-463A-4C0D-9665-1809147C075B}" destId="{F9B1423D-79E9-466E-B1F1-322C06A321E2}" srcOrd="2" destOrd="0" presId="urn:microsoft.com/office/officeart/2005/8/layout/vList2"/>
    <dgm:cxn modelId="{2306F251-9E32-4276-AB1A-4EDB9ADB1EBF}" type="presParOf" srcId="{9B95ED88-463A-4C0D-9665-1809147C075B}" destId="{601252D9-366D-4730-93BC-F00FF6531E1C}" srcOrd="3" destOrd="0" presId="urn:microsoft.com/office/officeart/2005/8/layout/vList2"/>
    <dgm:cxn modelId="{44AD586C-7971-46B6-BF1A-712C9F7454AC}" type="presParOf" srcId="{9B95ED88-463A-4C0D-9665-1809147C075B}" destId="{E885BC8A-173D-48A5-80DF-DD75FAC8A6F1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A2245DD9-773E-4D66-9489-0E16020BEEAB}" type="doc">
      <dgm:prSet loTypeId="urn:microsoft.com/office/officeart/2005/8/layout/default#4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1EAEACCB-5D3B-4B2A-876E-627D99514115}">
      <dgm:prSet phldrT="[Text]"/>
      <dgm:spPr/>
      <dgm:t>
        <a:bodyPr/>
        <a:lstStyle/>
        <a:p>
          <a:r>
            <a:rPr lang="en-US" b="1" dirty="0" smtClean="0"/>
            <a:t>$match, </a:t>
          </a:r>
        </a:p>
        <a:p>
          <a:r>
            <a:rPr lang="en-US" b="1" dirty="0" smtClean="0"/>
            <a:t>$unwind </a:t>
          </a:r>
          <a:endParaRPr lang="en-US" b="1" dirty="0"/>
        </a:p>
      </dgm:t>
    </dgm:pt>
    <dgm:pt modelId="{A79D98C0-24B6-4033-9510-EBCE31903311}" type="parTrans" cxnId="{A4423F11-0F70-4661-942C-F0F941F035D2}">
      <dgm:prSet/>
      <dgm:spPr/>
      <dgm:t>
        <a:bodyPr/>
        <a:lstStyle/>
        <a:p>
          <a:endParaRPr lang="en-US" b="1"/>
        </a:p>
      </dgm:t>
    </dgm:pt>
    <dgm:pt modelId="{1226BDE7-E28F-46EC-B8D8-88D9BE9732DF}" type="sibTrans" cxnId="{A4423F11-0F70-4661-942C-F0F941F035D2}">
      <dgm:prSet/>
      <dgm:spPr/>
      <dgm:t>
        <a:bodyPr/>
        <a:lstStyle/>
        <a:p>
          <a:endParaRPr lang="en-US" b="1"/>
        </a:p>
      </dgm:t>
    </dgm:pt>
    <dgm:pt modelId="{E4E12036-EF8A-4D7E-9406-2B6B717A8987}">
      <dgm:prSet phldrT="[Text]"/>
      <dgm:spPr/>
      <dgm:t>
        <a:bodyPr/>
        <a:lstStyle/>
        <a:p>
          <a:r>
            <a:rPr lang="en-US" b="1" dirty="0" smtClean="0"/>
            <a:t>$group, </a:t>
          </a:r>
        </a:p>
        <a:p>
          <a:r>
            <a:rPr lang="en-US" b="1" dirty="0" smtClean="0"/>
            <a:t>$project</a:t>
          </a:r>
          <a:endParaRPr lang="en-US" b="1" dirty="0"/>
        </a:p>
      </dgm:t>
    </dgm:pt>
    <dgm:pt modelId="{D3D2A059-E69C-476D-A1CC-90B6BAB9EAD5}" type="parTrans" cxnId="{FF5A9F45-FD04-444F-AF0D-1596687E5495}">
      <dgm:prSet/>
      <dgm:spPr/>
      <dgm:t>
        <a:bodyPr/>
        <a:lstStyle/>
        <a:p>
          <a:endParaRPr lang="en-US" b="1"/>
        </a:p>
      </dgm:t>
    </dgm:pt>
    <dgm:pt modelId="{A960A293-5D76-42DD-97F4-C3E3330B0AFD}" type="sibTrans" cxnId="{FF5A9F45-FD04-444F-AF0D-1596687E5495}">
      <dgm:prSet/>
      <dgm:spPr/>
      <dgm:t>
        <a:bodyPr/>
        <a:lstStyle/>
        <a:p>
          <a:endParaRPr lang="en-US" b="1"/>
        </a:p>
      </dgm:t>
    </dgm:pt>
    <dgm:pt modelId="{0C4458BC-1436-4F4F-8D93-438A3968970D}">
      <dgm:prSet phldrT="[Text]"/>
      <dgm:spPr/>
      <dgm:t>
        <a:bodyPr/>
        <a:lstStyle/>
        <a:p>
          <a:r>
            <a:rPr lang="en-US" b="1" dirty="0" smtClean="0"/>
            <a:t>$skip, </a:t>
          </a:r>
        </a:p>
        <a:p>
          <a:r>
            <a:rPr lang="en-US" b="1" dirty="0" smtClean="0"/>
            <a:t>$limit</a:t>
          </a:r>
          <a:endParaRPr lang="en-US" b="1" dirty="0"/>
        </a:p>
      </dgm:t>
    </dgm:pt>
    <dgm:pt modelId="{1715010A-9347-434C-838C-F5DF6D09C4FB}" type="parTrans" cxnId="{36F1C43C-526F-4828-8382-AC86F9DA8225}">
      <dgm:prSet/>
      <dgm:spPr/>
      <dgm:t>
        <a:bodyPr/>
        <a:lstStyle/>
        <a:p>
          <a:endParaRPr lang="en-US" b="1"/>
        </a:p>
      </dgm:t>
    </dgm:pt>
    <dgm:pt modelId="{2F4773DA-61D1-4A16-8822-52125A147156}" type="sibTrans" cxnId="{36F1C43C-526F-4828-8382-AC86F9DA8225}">
      <dgm:prSet/>
      <dgm:spPr/>
      <dgm:t>
        <a:bodyPr/>
        <a:lstStyle/>
        <a:p>
          <a:endParaRPr lang="en-US" b="1"/>
        </a:p>
      </dgm:t>
    </dgm:pt>
    <dgm:pt modelId="{127592BB-2D48-41CD-A60A-E32EE917DDDE}">
      <dgm:prSet phldrT="[Text]"/>
      <dgm:spPr/>
      <dgm:t>
        <a:bodyPr/>
        <a:lstStyle/>
        <a:p>
          <a:r>
            <a:rPr lang="en-US" b="1" dirty="0" smtClean="0"/>
            <a:t>$sort, </a:t>
          </a:r>
        </a:p>
        <a:p>
          <a:r>
            <a:rPr lang="en-US" b="1" dirty="0" smtClean="0"/>
            <a:t>$first</a:t>
          </a:r>
          <a:endParaRPr lang="en-US" b="1" dirty="0"/>
        </a:p>
      </dgm:t>
    </dgm:pt>
    <dgm:pt modelId="{2B92C224-7177-4AE0-9F90-8E4EC21D44F8}" type="parTrans" cxnId="{0F595DEC-F124-45DF-9831-BA784BB4EE1B}">
      <dgm:prSet/>
      <dgm:spPr/>
      <dgm:t>
        <a:bodyPr/>
        <a:lstStyle/>
        <a:p>
          <a:endParaRPr lang="en-US" b="1"/>
        </a:p>
      </dgm:t>
    </dgm:pt>
    <dgm:pt modelId="{3D04F2DB-9118-40DC-BFDD-4732C8F480BF}" type="sibTrans" cxnId="{0F595DEC-F124-45DF-9831-BA784BB4EE1B}">
      <dgm:prSet/>
      <dgm:spPr/>
      <dgm:t>
        <a:bodyPr/>
        <a:lstStyle/>
        <a:p>
          <a:endParaRPr lang="en-US" b="1"/>
        </a:p>
      </dgm:t>
    </dgm:pt>
    <dgm:pt modelId="{5F196BB0-AD30-4B77-A3A2-902DA6C75F9B}">
      <dgm:prSet phldrT="[Text]"/>
      <dgm:spPr/>
      <dgm:t>
        <a:bodyPr/>
        <a:lstStyle/>
        <a:p>
          <a:r>
            <a:rPr lang="en-US" b="1" dirty="0" smtClean="0"/>
            <a:t>$last,</a:t>
          </a:r>
        </a:p>
        <a:p>
          <a:r>
            <a:rPr lang="en-US" b="1" dirty="0" smtClean="0"/>
            <a:t>$sum</a:t>
          </a:r>
          <a:endParaRPr lang="en-US" b="1" dirty="0"/>
        </a:p>
      </dgm:t>
    </dgm:pt>
    <dgm:pt modelId="{D86E7426-67C5-4D07-8979-83CB6B40152D}" type="parTrans" cxnId="{E3586A27-CAD1-42A3-8F63-CA2F611B8090}">
      <dgm:prSet/>
      <dgm:spPr/>
      <dgm:t>
        <a:bodyPr/>
        <a:lstStyle/>
        <a:p>
          <a:endParaRPr lang="en-US" b="1"/>
        </a:p>
      </dgm:t>
    </dgm:pt>
    <dgm:pt modelId="{CF0EC58C-680D-4357-BA96-E4293CD7BFD0}" type="sibTrans" cxnId="{E3586A27-CAD1-42A3-8F63-CA2F611B8090}">
      <dgm:prSet/>
      <dgm:spPr/>
      <dgm:t>
        <a:bodyPr/>
        <a:lstStyle/>
        <a:p>
          <a:endParaRPr lang="en-US" b="1"/>
        </a:p>
      </dgm:t>
    </dgm:pt>
    <dgm:pt modelId="{E375DD5F-803B-40D9-A1DC-AF794EDBF9F9}">
      <dgm:prSet phldrT="[Text]"/>
      <dgm:spPr/>
      <dgm:t>
        <a:bodyPr/>
        <a:lstStyle/>
        <a:p>
          <a:r>
            <a:rPr lang="en-US" b="1" dirty="0" smtClean="0"/>
            <a:t>$avg,</a:t>
          </a:r>
        </a:p>
        <a:p>
          <a:r>
            <a:rPr lang="en-US" b="1" dirty="0" smtClean="0"/>
            <a:t>$min,</a:t>
          </a:r>
        </a:p>
        <a:p>
          <a:r>
            <a:rPr lang="en-US" b="1" dirty="0" smtClean="0"/>
            <a:t>$max</a:t>
          </a:r>
          <a:endParaRPr lang="en-US" b="1" dirty="0"/>
        </a:p>
      </dgm:t>
    </dgm:pt>
    <dgm:pt modelId="{CD79F9A1-19B2-421A-BBCD-4F748DA08BEE}" type="parTrans" cxnId="{FDD96153-72BF-49EF-87BC-470FCB01D91E}">
      <dgm:prSet/>
      <dgm:spPr/>
      <dgm:t>
        <a:bodyPr/>
        <a:lstStyle/>
        <a:p>
          <a:endParaRPr lang="en-US" b="1"/>
        </a:p>
      </dgm:t>
    </dgm:pt>
    <dgm:pt modelId="{A70F1C39-9D4E-4990-BE2A-B8202555AF65}" type="sibTrans" cxnId="{FDD96153-72BF-49EF-87BC-470FCB01D91E}">
      <dgm:prSet/>
      <dgm:spPr/>
      <dgm:t>
        <a:bodyPr/>
        <a:lstStyle/>
        <a:p>
          <a:endParaRPr lang="en-US" b="1"/>
        </a:p>
      </dgm:t>
    </dgm:pt>
    <dgm:pt modelId="{82BA2F78-096B-4021-8101-456B0A247EE8}">
      <dgm:prSet phldrT="[Text]"/>
      <dgm:spPr/>
      <dgm:t>
        <a:bodyPr/>
        <a:lstStyle/>
        <a:p>
          <a:r>
            <a:rPr lang="en-US" b="1" dirty="0" smtClean="0"/>
            <a:t>$push,</a:t>
          </a:r>
        </a:p>
        <a:p>
          <a:r>
            <a:rPr lang="en-US" b="1" dirty="0" smtClean="0"/>
            <a:t>$addToSet</a:t>
          </a:r>
          <a:endParaRPr lang="en-US" b="1" dirty="0"/>
        </a:p>
      </dgm:t>
    </dgm:pt>
    <dgm:pt modelId="{A6C554DD-6288-425E-B774-C7140DF5635C}" type="parTrans" cxnId="{6CA03D63-1E66-4902-B48B-E8ADE638C368}">
      <dgm:prSet/>
      <dgm:spPr/>
      <dgm:t>
        <a:bodyPr/>
        <a:lstStyle/>
        <a:p>
          <a:endParaRPr lang="en-US" b="1"/>
        </a:p>
      </dgm:t>
    </dgm:pt>
    <dgm:pt modelId="{EC2E80AE-463A-4DC6-881E-00B19EE9520A}" type="sibTrans" cxnId="{6CA03D63-1E66-4902-B48B-E8ADE638C368}">
      <dgm:prSet/>
      <dgm:spPr/>
      <dgm:t>
        <a:bodyPr/>
        <a:lstStyle/>
        <a:p>
          <a:endParaRPr lang="en-US" b="1"/>
        </a:p>
      </dgm:t>
    </dgm:pt>
    <dgm:pt modelId="{2DAB4A71-ACF6-4379-967F-448E3E5A2BE4}" type="pres">
      <dgm:prSet presAssocID="{A2245DD9-773E-4D66-9489-0E16020BEEAB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D322C1C-A42C-43B2-9BF9-421BC871001C}" type="pres">
      <dgm:prSet presAssocID="{1EAEACCB-5D3B-4B2A-876E-627D99514115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3C2578-F89D-4750-BF80-BEC3618552A9}" type="pres">
      <dgm:prSet presAssocID="{1226BDE7-E28F-46EC-B8D8-88D9BE9732DF}" presName="sibTrans" presStyleCnt="0"/>
      <dgm:spPr/>
    </dgm:pt>
    <dgm:pt modelId="{1D09C6AB-553E-4FA7-8CAE-9D99D322E2AF}" type="pres">
      <dgm:prSet presAssocID="{E4E12036-EF8A-4D7E-9406-2B6B717A8987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644334-F29B-44F8-9804-9E7E598B1FB9}" type="pres">
      <dgm:prSet presAssocID="{A960A293-5D76-42DD-97F4-C3E3330B0AFD}" presName="sibTrans" presStyleCnt="0"/>
      <dgm:spPr/>
    </dgm:pt>
    <dgm:pt modelId="{3BA68996-207D-47AC-81A5-82D8FE9D564C}" type="pres">
      <dgm:prSet presAssocID="{0C4458BC-1436-4F4F-8D93-438A3968970D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2AC321-1AE9-4361-B127-FD215B13310E}" type="pres">
      <dgm:prSet presAssocID="{2F4773DA-61D1-4A16-8822-52125A147156}" presName="sibTrans" presStyleCnt="0"/>
      <dgm:spPr/>
    </dgm:pt>
    <dgm:pt modelId="{2A8EA7E4-E631-4C5D-9969-4D0C856CE401}" type="pres">
      <dgm:prSet presAssocID="{127592BB-2D48-41CD-A60A-E32EE917DDDE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2C99CD-FE61-4A4D-B177-EF73BFAD900D}" type="pres">
      <dgm:prSet presAssocID="{3D04F2DB-9118-40DC-BFDD-4732C8F480BF}" presName="sibTrans" presStyleCnt="0"/>
      <dgm:spPr/>
    </dgm:pt>
    <dgm:pt modelId="{9BA44007-C4F9-4B35-8E0F-B91A25113285}" type="pres">
      <dgm:prSet presAssocID="{5F196BB0-AD30-4B77-A3A2-902DA6C75F9B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3AFF44-035A-4936-8109-90819226B1C0}" type="pres">
      <dgm:prSet presAssocID="{CF0EC58C-680D-4357-BA96-E4293CD7BFD0}" presName="sibTrans" presStyleCnt="0"/>
      <dgm:spPr/>
    </dgm:pt>
    <dgm:pt modelId="{1734634A-257F-4DBE-9F08-0962D17B316C}" type="pres">
      <dgm:prSet presAssocID="{E375DD5F-803B-40D9-A1DC-AF794EDBF9F9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15587A-2358-4D4C-9796-16644DD50AA1}" type="pres">
      <dgm:prSet presAssocID="{A70F1C39-9D4E-4990-BE2A-B8202555AF65}" presName="sibTrans" presStyleCnt="0"/>
      <dgm:spPr/>
    </dgm:pt>
    <dgm:pt modelId="{F08202E7-5B7F-4A84-A976-B7183053FDBA}" type="pres">
      <dgm:prSet presAssocID="{82BA2F78-096B-4021-8101-456B0A247EE8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625C1C5-F004-421A-AF41-411C5283ADBB}" type="presOf" srcId="{82BA2F78-096B-4021-8101-456B0A247EE8}" destId="{F08202E7-5B7F-4A84-A976-B7183053FDBA}" srcOrd="0" destOrd="0" presId="urn:microsoft.com/office/officeart/2005/8/layout/default#4"/>
    <dgm:cxn modelId="{A4423F11-0F70-4661-942C-F0F941F035D2}" srcId="{A2245DD9-773E-4D66-9489-0E16020BEEAB}" destId="{1EAEACCB-5D3B-4B2A-876E-627D99514115}" srcOrd="0" destOrd="0" parTransId="{A79D98C0-24B6-4033-9510-EBCE31903311}" sibTransId="{1226BDE7-E28F-46EC-B8D8-88D9BE9732DF}"/>
    <dgm:cxn modelId="{FF5A9F45-FD04-444F-AF0D-1596687E5495}" srcId="{A2245DD9-773E-4D66-9489-0E16020BEEAB}" destId="{E4E12036-EF8A-4D7E-9406-2B6B717A8987}" srcOrd="1" destOrd="0" parTransId="{D3D2A059-E69C-476D-A1CC-90B6BAB9EAD5}" sibTransId="{A960A293-5D76-42DD-97F4-C3E3330B0AFD}"/>
    <dgm:cxn modelId="{9636DD8E-C864-492B-870E-4BA2722F96E1}" type="presOf" srcId="{A2245DD9-773E-4D66-9489-0E16020BEEAB}" destId="{2DAB4A71-ACF6-4379-967F-448E3E5A2BE4}" srcOrd="0" destOrd="0" presId="urn:microsoft.com/office/officeart/2005/8/layout/default#4"/>
    <dgm:cxn modelId="{C12F047D-6F41-4624-83CE-5ABA0D4CC0BE}" type="presOf" srcId="{0C4458BC-1436-4F4F-8D93-438A3968970D}" destId="{3BA68996-207D-47AC-81A5-82D8FE9D564C}" srcOrd="0" destOrd="0" presId="urn:microsoft.com/office/officeart/2005/8/layout/default#4"/>
    <dgm:cxn modelId="{6CA03D63-1E66-4902-B48B-E8ADE638C368}" srcId="{A2245DD9-773E-4D66-9489-0E16020BEEAB}" destId="{82BA2F78-096B-4021-8101-456B0A247EE8}" srcOrd="6" destOrd="0" parTransId="{A6C554DD-6288-425E-B774-C7140DF5635C}" sibTransId="{EC2E80AE-463A-4DC6-881E-00B19EE9520A}"/>
    <dgm:cxn modelId="{7C8A77B6-BEBD-4689-BBD4-DA20046DE0EB}" type="presOf" srcId="{5F196BB0-AD30-4B77-A3A2-902DA6C75F9B}" destId="{9BA44007-C4F9-4B35-8E0F-B91A25113285}" srcOrd="0" destOrd="0" presId="urn:microsoft.com/office/officeart/2005/8/layout/default#4"/>
    <dgm:cxn modelId="{B6418949-AD7D-474D-9FB8-DD562B5D68CE}" type="presOf" srcId="{1EAEACCB-5D3B-4B2A-876E-627D99514115}" destId="{2D322C1C-A42C-43B2-9BF9-421BC871001C}" srcOrd="0" destOrd="0" presId="urn:microsoft.com/office/officeart/2005/8/layout/default#4"/>
    <dgm:cxn modelId="{FDD96153-72BF-49EF-87BC-470FCB01D91E}" srcId="{A2245DD9-773E-4D66-9489-0E16020BEEAB}" destId="{E375DD5F-803B-40D9-A1DC-AF794EDBF9F9}" srcOrd="5" destOrd="0" parTransId="{CD79F9A1-19B2-421A-BBCD-4F748DA08BEE}" sibTransId="{A70F1C39-9D4E-4990-BE2A-B8202555AF65}"/>
    <dgm:cxn modelId="{DB2E6850-65EF-4BE3-926D-2EE54AE04AAB}" type="presOf" srcId="{E4E12036-EF8A-4D7E-9406-2B6B717A8987}" destId="{1D09C6AB-553E-4FA7-8CAE-9D99D322E2AF}" srcOrd="0" destOrd="0" presId="urn:microsoft.com/office/officeart/2005/8/layout/default#4"/>
    <dgm:cxn modelId="{0F595DEC-F124-45DF-9831-BA784BB4EE1B}" srcId="{A2245DD9-773E-4D66-9489-0E16020BEEAB}" destId="{127592BB-2D48-41CD-A60A-E32EE917DDDE}" srcOrd="3" destOrd="0" parTransId="{2B92C224-7177-4AE0-9F90-8E4EC21D44F8}" sibTransId="{3D04F2DB-9118-40DC-BFDD-4732C8F480BF}"/>
    <dgm:cxn modelId="{36F1C43C-526F-4828-8382-AC86F9DA8225}" srcId="{A2245DD9-773E-4D66-9489-0E16020BEEAB}" destId="{0C4458BC-1436-4F4F-8D93-438A3968970D}" srcOrd="2" destOrd="0" parTransId="{1715010A-9347-434C-838C-F5DF6D09C4FB}" sibTransId="{2F4773DA-61D1-4A16-8822-52125A147156}"/>
    <dgm:cxn modelId="{56B876AE-B57C-4092-A7B5-607A1EAA690E}" type="presOf" srcId="{E375DD5F-803B-40D9-A1DC-AF794EDBF9F9}" destId="{1734634A-257F-4DBE-9F08-0962D17B316C}" srcOrd="0" destOrd="0" presId="urn:microsoft.com/office/officeart/2005/8/layout/default#4"/>
    <dgm:cxn modelId="{73BBBA93-B56B-4B00-9694-12D1C9193DB8}" type="presOf" srcId="{127592BB-2D48-41CD-A60A-E32EE917DDDE}" destId="{2A8EA7E4-E631-4C5D-9969-4D0C856CE401}" srcOrd="0" destOrd="0" presId="urn:microsoft.com/office/officeart/2005/8/layout/default#4"/>
    <dgm:cxn modelId="{E3586A27-CAD1-42A3-8F63-CA2F611B8090}" srcId="{A2245DD9-773E-4D66-9489-0E16020BEEAB}" destId="{5F196BB0-AD30-4B77-A3A2-902DA6C75F9B}" srcOrd="4" destOrd="0" parTransId="{D86E7426-67C5-4D07-8979-83CB6B40152D}" sibTransId="{CF0EC58C-680D-4357-BA96-E4293CD7BFD0}"/>
    <dgm:cxn modelId="{482D80BE-3B49-4F0D-A7AC-4037312234FB}" type="presParOf" srcId="{2DAB4A71-ACF6-4379-967F-448E3E5A2BE4}" destId="{2D322C1C-A42C-43B2-9BF9-421BC871001C}" srcOrd="0" destOrd="0" presId="urn:microsoft.com/office/officeart/2005/8/layout/default#4"/>
    <dgm:cxn modelId="{82AE4D33-8AAC-4508-802F-754822B584E9}" type="presParOf" srcId="{2DAB4A71-ACF6-4379-967F-448E3E5A2BE4}" destId="{B83C2578-F89D-4750-BF80-BEC3618552A9}" srcOrd="1" destOrd="0" presId="urn:microsoft.com/office/officeart/2005/8/layout/default#4"/>
    <dgm:cxn modelId="{D65266E5-66FD-492D-B793-30A8F3690069}" type="presParOf" srcId="{2DAB4A71-ACF6-4379-967F-448E3E5A2BE4}" destId="{1D09C6AB-553E-4FA7-8CAE-9D99D322E2AF}" srcOrd="2" destOrd="0" presId="urn:microsoft.com/office/officeart/2005/8/layout/default#4"/>
    <dgm:cxn modelId="{207E9038-0A7D-43A5-9CDC-0163A953E40F}" type="presParOf" srcId="{2DAB4A71-ACF6-4379-967F-448E3E5A2BE4}" destId="{69644334-F29B-44F8-9804-9E7E598B1FB9}" srcOrd="3" destOrd="0" presId="urn:microsoft.com/office/officeart/2005/8/layout/default#4"/>
    <dgm:cxn modelId="{B360A3C2-D771-420A-8945-35B5C933A863}" type="presParOf" srcId="{2DAB4A71-ACF6-4379-967F-448E3E5A2BE4}" destId="{3BA68996-207D-47AC-81A5-82D8FE9D564C}" srcOrd="4" destOrd="0" presId="urn:microsoft.com/office/officeart/2005/8/layout/default#4"/>
    <dgm:cxn modelId="{5F8880C1-D58B-4689-A4BD-136960DA0D58}" type="presParOf" srcId="{2DAB4A71-ACF6-4379-967F-448E3E5A2BE4}" destId="{DC2AC321-1AE9-4361-B127-FD215B13310E}" srcOrd="5" destOrd="0" presId="urn:microsoft.com/office/officeart/2005/8/layout/default#4"/>
    <dgm:cxn modelId="{4E1B7C7D-DA5D-40D2-8DC0-B7C60AA6A081}" type="presParOf" srcId="{2DAB4A71-ACF6-4379-967F-448E3E5A2BE4}" destId="{2A8EA7E4-E631-4C5D-9969-4D0C856CE401}" srcOrd="6" destOrd="0" presId="urn:microsoft.com/office/officeart/2005/8/layout/default#4"/>
    <dgm:cxn modelId="{55E84A08-0B0C-45DF-A9B8-730F75DBBB74}" type="presParOf" srcId="{2DAB4A71-ACF6-4379-967F-448E3E5A2BE4}" destId="{402C99CD-FE61-4A4D-B177-EF73BFAD900D}" srcOrd="7" destOrd="0" presId="urn:microsoft.com/office/officeart/2005/8/layout/default#4"/>
    <dgm:cxn modelId="{AAB3DD90-040F-47DB-B136-B7CFC4040DA1}" type="presParOf" srcId="{2DAB4A71-ACF6-4379-967F-448E3E5A2BE4}" destId="{9BA44007-C4F9-4B35-8E0F-B91A25113285}" srcOrd="8" destOrd="0" presId="urn:microsoft.com/office/officeart/2005/8/layout/default#4"/>
    <dgm:cxn modelId="{33FE1D0C-F659-4EFE-BF44-1F5B7D3EC1B5}" type="presParOf" srcId="{2DAB4A71-ACF6-4379-967F-448E3E5A2BE4}" destId="{A53AFF44-035A-4936-8109-90819226B1C0}" srcOrd="9" destOrd="0" presId="urn:microsoft.com/office/officeart/2005/8/layout/default#4"/>
    <dgm:cxn modelId="{29963B7A-506B-4F00-9392-961F5978FCD2}" type="presParOf" srcId="{2DAB4A71-ACF6-4379-967F-448E3E5A2BE4}" destId="{1734634A-257F-4DBE-9F08-0962D17B316C}" srcOrd="10" destOrd="0" presId="urn:microsoft.com/office/officeart/2005/8/layout/default#4"/>
    <dgm:cxn modelId="{47564DC6-D662-48BB-8119-D08AC1EC5FEB}" type="presParOf" srcId="{2DAB4A71-ACF6-4379-967F-448E3E5A2BE4}" destId="{1015587A-2358-4D4C-9796-16644DD50AA1}" srcOrd="11" destOrd="0" presId="urn:microsoft.com/office/officeart/2005/8/layout/default#4"/>
    <dgm:cxn modelId="{87D8EC9F-0C94-4B5F-8A94-13C1C9A894DE}" type="presParOf" srcId="{2DAB4A71-ACF6-4379-967F-448E3E5A2BE4}" destId="{F08202E7-5B7F-4A84-A976-B7183053FDBA}" srcOrd="12" destOrd="0" presId="urn:microsoft.com/office/officeart/2005/8/layout/default#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E594A10-9DA5-4B7A-B36F-6DA6E4CFDC14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C2AA1EE2-53EB-4453-A606-E2EA2BFBF4AA}">
      <dgm:prSet phldrT="[Text]"/>
      <dgm:spPr/>
      <dgm:t>
        <a:bodyPr/>
        <a:lstStyle/>
        <a:p>
          <a:r>
            <a:rPr lang="en-US" dirty="0" smtClean="0"/>
            <a:t>For the aggregation in MongoDB you should use       </a:t>
          </a:r>
          <a:r>
            <a:rPr lang="en-US" b="1" dirty="0" smtClean="0"/>
            <a:t>aggregate()</a:t>
          </a:r>
          <a:r>
            <a:rPr lang="en-US" dirty="0" smtClean="0"/>
            <a:t> method.</a:t>
          </a:r>
          <a:endParaRPr lang="en-US" dirty="0"/>
        </a:p>
      </dgm:t>
    </dgm:pt>
    <dgm:pt modelId="{CE003CD7-2D1A-4D40-9C04-EAC795D34193}" type="parTrans" cxnId="{FAC32AC8-664D-4D8F-8EE1-E0A26B07758B}">
      <dgm:prSet/>
      <dgm:spPr/>
      <dgm:t>
        <a:bodyPr/>
        <a:lstStyle/>
        <a:p>
          <a:endParaRPr lang="en-US"/>
        </a:p>
      </dgm:t>
    </dgm:pt>
    <dgm:pt modelId="{F1DDFB1F-F870-42CD-BC9F-B0FF7D0E43AA}" type="sibTrans" cxnId="{FAC32AC8-664D-4D8F-8EE1-E0A26B07758B}">
      <dgm:prSet/>
      <dgm:spPr/>
      <dgm:t>
        <a:bodyPr/>
        <a:lstStyle/>
        <a:p>
          <a:endParaRPr lang="en-US"/>
        </a:p>
      </dgm:t>
    </dgm:pt>
    <dgm:pt modelId="{11408B2A-989A-4ADC-898B-109D7764CF12}">
      <dgm:prSet phldrT="[Text]"/>
      <dgm:spPr/>
      <dgm:t>
        <a:bodyPr/>
        <a:lstStyle/>
        <a:p>
          <a:r>
            <a:rPr lang="en-US" b="1" dirty="0" smtClean="0"/>
            <a:t>Syntax:</a:t>
          </a:r>
        </a:p>
        <a:p>
          <a:r>
            <a:rPr lang="en-US" dirty="0" smtClean="0"/>
            <a:t>Basic syntax of </a:t>
          </a:r>
          <a:r>
            <a:rPr lang="en-US" b="1" dirty="0" smtClean="0"/>
            <a:t>aggregate()</a:t>
          </a:r>
          <a:r>
            <a:rPr lang="en-US" dirty="0" smtClean="0"/>
            <a:t> method is as follows:</a:t>
          </a:r>
          <a:endParaRPr lang="en-US" dirty="0"/>
        </a:p>
      </dgm:t>
    </dgm:pt>
    <dgm:pt modelId="{FCF354F3-87DE-41CA-812E-20658C6FAD95}" type="parTrans" cxnId="{848206EF-BAB7-4DC1-A294-E585D5E3131A}">
      <dgm:prSet/>
      <dgm:spPr/>
      <dgm:t>
        <a:bodyPr/>
        <a:lstStyle/>
        <a:p>
          <a:endParaRPr lang="en-US"/>
        </a:p>
      </dgm:t>
    </dgm:pt>
    <dgm:pt modelId="{3B2568DF-FF5B-47BF-AA63-6208B843C86C}" type="sibTrans" cxnId="{848206EF-BAB7-4DC1-A294-E585D5E3131A}">
      <dgm:prSet/>
      <dgm:spPr/>
      <dgm:t>
        <a:bodyPr/>
        <a:lstStyle/>
        <a:p>
          <a:endParaRPr lang="en-US"/>
        </a:p>
      </dgm:t>
    </dgm:pt>
    <dgm:pt modelId="{DA9E6101-7040-4F34-AA3E-A4BF301A2FA0}">
      <dgm:prSet phldrT="[Text]"/>
      <dgm:spPr/>
      <dgm:t>
        <a:bodyPr/>
        <a:lstStyle/>
        <a:p>
          <a:r>
            <a:rPr lang="en-US" b="1" dirty="0" smtClean="0"/>
            <a:t>&gt;db.COLLECTION_NAME.aggregate(AGGREGATE_OPERATION)</a:t>
          </a:r>
          <a:endParaRPr lang="en-US" b="1" dirty="0"/>
        </a:p>
      </dgm:t>
    </dgm:pt>
    <dgm:pt modelId="{C2649401-F9CB-48CB-8374-50216E53A479}" type="parTrans" cxnId="{ACAE5BBA-119D-4681-9393-14C96FCE01F6}">
      <dgm:prSet/>
      <dgm:spPr/>
      <dgm:t>
        <a:bodyPr/>
        <a:lstStyle/>
        <a:p>
          <a:endParaRPr lang="en-US"/>
        </a:p>
      </dgm:t>
    </dgm:pt>
    <dgm:pt modelId="{49834376-4C8A-462E-B0C0-17ADD2674B2C}" type="sibTrans" cxnId="{ACAE5BBA-119D-4681-9393-14C96FCE01F6}">
      <dgm:prSet/>
      <dgm:spPr/>
      <dgm:t>
        <a:bodyPr/>
        <a:lstStyle/>
        <a:p>
          <a:endParaRPr lang="en-US"/>
        </a:p>
      </dgm:t>
    </dgm:pt>
    <dgm:pt modelId="{2879E052-5143-4739-B1EB-D3451D6A6567}" type="pres">
      <dgm:prSet presAssocID="{BE594A10-9DA5-4B7A-B36F-6DA6E4CFDC1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C1AC206-2A43-42B1-8C29-91CEFF0342BC}" type="pres">
      <dgm:prSet presAssocID="{C2AA1EE2-53EB-4453-A606-E2EA2BFBF4AA}" presName="parentText" presStyleLbl="node1" presStyleIdx="0" presStyleCnt="2" custScaleY="225344" custLinFactY="-37335" custLinFactNeighborX="200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1DFC09-5FD7-4130-AE0D-BCCB25F24711}" type="pres">
      <dgm:prSet presAssocID="{F1DDFB1F-F870-42CD-BC9F-B0FF7D0E43AA}" presName="spacer" presStyleCnt="0"/>
      <dgm:spPr/>
    </dgm:pt>
    <dgm:pt modelId="{74E25851-2A08-41E0-9D5E-DCB69DEBE9BB}" type="pres">
      <dgm:prSet presAssocID="{11408B2A-989A-4ADC-898B-109D7764CF12}" presName="parentText" presStyleLbl="node1" presStyleIdx="1" presStyleCnt="2" custLinFactY="-13406" custLinFactNeighborX="200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BE90C6-1EE8-4D05-AF46-995E69951106}" type="pres">
      <dgm:prSet presAssocID="{11408B2A-989A-4ADC-898B-109D7764CF12}" presName="childText" presStyleLbl="revTx" presStyleIdx="0" presStyleCnt="1" custScaleY="13992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C4546AC-B04B-42C7-8B9C-A0BE435D2C5E}" type="presOf" srcId="{BE594A10-9DA5-4B7A-B36F-6DA6E4CFDC14}" destId="{2879E052-5143-4739-B1EB-D3451D6A6567}" srcOrd="0" destOrd="0" presId="urn:microsoft.com/office/officeart/2005/8/layout/vList2"/>
    <dgm:cxn modelId="{FAC32AC8-664D-4D8F-8EE1-E0A26B07758B}" srcId="{BE594A10-9DA5-4B7A-B36F-6DA6E4CFDC14}" destId="{C2AA1EE2-53EB-4453-A606-E2EA2BFBF4AA}" srcOrd="0" destOrd="0" parTransId="{CE003CD7-2D1A-4D40-9C04-EAC795D34193}" sibTransId="{F1DDFB1F-F870-42CD-BC9F-B0FF7D0E43AA}"/>
    <dgm:cxn modelId="{1F8F72EE-F822-43F1-BADA-9449FAB03DE6}" type="presOf" srcId="{C2AA1EE2-53EB-4453-A606-E2EA2BFBF4AA}" destId="{3C1AC206-2A43-42B1-8C29-91CEFF0342BC}" srcOrd="0" destOrd="0" presId="urn:microsoft.com/office/officeart/2005/8/layout/vList2"/>
    <dgm:cxn modelId="{848206EF-BAB7-4DC1-A294-E585D5E3131A}" srcId="{BE594A10-9DA5-4B7A-B36F-6DA6E4CFDC14}" destId="{11408B2A-989A-4ADC-898B-109D7764CF12}" srcOrd="1" destOrd="0" parTransId="{FCF354F3-87DE-41CA-812E-20658C6FAD95}" sibTransId="{3B2568DF-FF5B-47BF-AA63-6208B843C86C}"/>
    <dgm:cxn modelId="{ACAE5BBA-119D-4681-9393-14C96FCE01F6}" srcId="{11408B2A-989A-4ADC-898B-109D7764CF12}" destId="{DA9E6101-7040-4F34-AA3E-A4BF301A2FA0}" srcOrd="0" destOrd="0" parTransId="{C2649401-F9CB-48CB-8374-50216E53A479}" sibTransId="{49834376-4C8A-462E-B0C0-17ADD2674B2C}"/>
    <dgm:cxn modelId="{A1409910-7FDF-4D61-A003-1C565792F91E}" type="presOf" srcId="{DA9E6101-7040-4F34-AA3E-A4BF301A2FA0}" destId="{66BE90C6-1EE8-4D05-AF46-995E69951106}" srcOrd="0" destOrd="0" presId="urn:microsoft.com/office/officeart/2005/8/layout/vList2"/>
    <dgm:cxn modelId="{124952B7-DFE2-4BE4-8396-65CDDB432A6C}" type="presOf" srcId="{11408B2A-989A-4ADC-898B-109D7764CF12}" destId="{74E25851-2A08-41E0-9D5E-DCB69DEBE9BB}" srcOrd="0" destOrd="0" presId="urn:microsoft.com/office/officeart/2005/8/layout/vList2"/>
    <dgm:cxn modelId="{2B413780-F526-4D91-AB23-13C57DE2963A}" type="presParOf" srcId="{2879E052-5143-4739-B1EB-D3451D6A6567}" destId="{3C1AC206-2A43-42B1-8C29-91CEFF0342BC}" srcOrd="0" destOrd="0" presId="urn:microsoft.com/office/officeart/2005/8/layout/vList2"/>
    <dgm:cxn modelId="{1540815C-0724-4441-B916-42CACC2F2776}" type="presParOf" srcId="{2879E052-5143-4739-B1EB-D3451D6A6567}" destId="{A91DFC09-5FD7-4130-AE0D-BCCB25F24711}" srcOrd="1" destOrd="0" presId="urn:microsoft.com/office/officeart/2005/8/layout/vList2"/>
    <dgm:cxn modelId="{98DC383F-3853-4A92-B066-9DFD15C942C7}" type="presParOf" srcId="{2879E052-5143-4739-B1EB-D3451D6A6567}" destId="{74E25851-2A08-41E0-9D5E-DCB69DEBE9BB}" srcOrd="2" destOrd="0" presId="urn:microsoft.com/office/officeart/2005/8/layout/vList2"/>
    <dgm:cxn modelId="{D9843749-5E6B-4A42-BA05-D66AC7C6323F}" type="presParOf" srcId="{2879E052-5143-4739-B1EB-D3451D6A6567}" destId="{66BE90C6-1EE8-4D05-AF46-995E69951106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D9687F0-4C1B-4730-8186-5CA9EF7AADE8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37C0A0FD-1105-4575-B118-CAEFA98E35F1}">
      <dgm:prSet phldrT="[Text]" custT="1"/>
      <dgm:spPr/>
      <dgm:t>
        <a:bodyPr/>
        <a:lstStyle/>
        <a:p>
          <a:r>
            <a:rPr lang="en-US" sz="2000" dirty="0" smtClean="0"/>
            <a:t>The aggregation framework is based on pipeline concept, just like  Unix pipeline.</a:t>
          </a:r>
          <a:endParaRPr lang="en-US" sz="2000" dirty="0"/>
        </a:p>
      </dgm:t>
    </dgm:pt>
    <dgm:pt modelId="{346A9856-5A5E-457F-97C5-2E4ADF1CE6B3}" type="parTrans" cxnId="{BDB49B0D-8351-4043-960A-B3919C45543E}">
      <dgm:prSet/>
      <dgm:spPr/>
      <dgm:t>
        <a:bodyPr/>
        <a:lstStyle/>
        <a:p>
          <a:endParaRPr lang="en-US" sz="2000"/>
        </a:p>
      </dgm:t>
    </dgm:pt>
    <dgm:pt modelId="{F38CE2CB-0A34-420A-B36A-D321D31961C2}" type="sibTrans" cxnId="{BDB49B0D-8351-4043-960A-B3919C45543E}">
      <dgm:prSet/>
      <dgm:spPr/>
      <dgm:t>
        <a:bodyPr/>
        <a:lstStyle/>
        <a:p>
          <a:endParaRPr lang="en-US" sz="2000"/>
        </a:p>
      </dgm:t>
    </dgm:pt>
    <dgm:pt modelId="{D9E94619-08BB-493E-8F1F-6E7C5090092B}">
      <dgm:prSet phldrT="[Text]" custT="1"/>
      <dgm:spPr/>
      <dgm:t>
        <a:bodyPr/>
        <a:lstStyle/>
        <a:p>
          <a:r>
            <a:rPr lang="en-US" sz="2000" dirty="0" smtClean="0"/>
            <a:t>There can be N number of operators.</a:t>
          </a:r>
          <a:endParaRPr lang="en-US" sz="2000" dirty="0"/>
        </a:p>
      </dgm:t>
    </dgm:pt>
    <dgm:pt modelId="{F4E26FBC-5421-4B69-B81F-28A16E70D298}" type="parTrans" cxnId="{7A8BAEB8-7D78-4891-A325-90DB06525941}">
      <dgm:prSet/>
      <dgm:spPr/>
      <dgm:t>
        <a:bodyPr/>
        <a:lstStyle/>
        <a:p>
          <a:endParaRPr lang="en-US" sz="2000"/>
        </a:p>
      </dgm:t>
    </dgm:pt>
    <dgm:pt modelId="{AACC0DE3-2DEF-4C34-A5C1-0CA392B6469D}" type="sibTrans" cxnId="{7A8BAEB8-7D78-4891-A325-90DB06525941}">
      <dgm:prSet/>
      <dgm:spPr/>
      <dgm:t>
        <a:bodyPr/>
        <a:lstStyle/>
        <a:p>
          <a:endParaRPr lang="en-US" sz="2000"/>
        </a:p>
      </dgm:t>
    </dgm:pt>
    <dgm:pt modelId="{0473D689-9B13-4A18-8BC8-2C97EA0B5112}">
      <dgm:prSet phldrT="[Text]" custT="1"/>
      <dgm:spPr/>
      <dgm:t>
        <a:bodyPr/>
        <a:lstStyle/>
        <a:p>
          <a:r>
            <a:rPr lang="en-US" sz="2000" dirty="0" smtClean="0"/>
            <a:t>Output of first operator will be fed as input to the second  operator. Output of second operator will be fed as input to  the third operator and so on.</a:t>
          </a:r>
          <a:endParaRPr lang="en-US" sz="2000" dirty="0"/>
        </a:p>
      </dgm:t>
    </dgm:pt>
    <dgm:pt modelId="{D5BA34E6-AB92-4496-9B3F-A6EA9BC3A3B5}" type="parTrans" cxnId="{F0101B6E-83B2-4CEC-ACFC-1CA68F125BE9}">
      <dgm:prSet/>
      <dgm:spPr/>
      <dgm:t>
        <a:bodyPr/>
        <a:lstStyle/>
        <a:p>
          <a:endParaRPr lang="en-US" sz="2000"/>
        </a:p>
      </dgm:t>
    </dgm:pt>
    <dgm:pt modelId="{8224B948-1B19-419A-9ED4-0A829CB677AF}" type="sibTrans" cxnId="{F0101B6E-83B2-4CEC-ACFC-1CA68F125BE9}">
      <dgm:prSet/>
      <dgm:spPr/>
      <dgm:t>
        <a:bodyPr/>
        <a:lstStyle/>
        <a:p>
          <a:endParaRPr lang="en-US" sz="2000"/>
        </a:p>
      </dgm:t>
    </dgm:pt>
    <dgm:pt modelId="{5C8B03C1-4F03-47BB-84F5-13ED0908CF39}" type="pres">
      <dgm:prSet presAssocID="{DD9687F0-4C1B-4730-8186-5CA9EF7AADE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8A71C65-67E0-4022-AB48-F384F0A16962}" type="pres">
      <dgm:prSet presAssocID="{37C0A0FD-1105-4575-B118-CAEFA98E35F1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FFC2BA-C192-4742-BF1E-5906E27161A1}" type="pres">
      <dgm:prSet presAssocID="{F38CE2CB-0A34-420A-B36A-D321D31961C2}" presName="spacer" presStyleCnt="0"/>
      <dgm:spPr/>
    </dgm:pt>
    <dgm:pt modelId="{C28D2B83-28F4-4AAC-9A7E-852E7E9D134F}" type="pres">
      <dgm:prSet presAssocID="{D9E94619-08BB-493E-8F1F-6E7C5090092B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4DEE7E-9F86-4ACE-80D6-68AC96EF35C6}" type="pres">
      <dgm:prSet presAssocID="{AACC0DE3-2DEF-4C34-A5C1-0CA392B6469D}" presName="spacer" presStyleCnt="0"/>
      <dgm:spPr/>
    </dgm:pt>
    <dgm:pt modelId="{790E7922-3307-4A5C-9E22-4082A980A5F8}" type="pres">
      <dgm:prSet presAssocID="{0473D689-9B13-4A18-8BC8-2C97EA0B5112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4585A65-F82C-488B-85DF-58785E064A35}" type="presOf" srcId="{DD9687F0-4C1B-4730-8186-5CA9EF7AADE8}" destId="{5C8B03C1-4F03-47BB-84F5-13ED0908CF39}" srcOrd="0" destOrd="0" presId="urn:microsoft.com/office/officeart/2005/8/layout/vList2"/>
    <dgm:cxn modelId="{6C8608A1-87B7-4CF9-883B-FBBA13801967}" type="presOf" srcId="{37C0A0FD-1105-4575-B118-CAEFA98E35F1}" destId="{48A71C65-67E0-4022-AB48-F384F0A16962}" srcOrd="0" destOrd="0" presId="urn:microsoft.com/office/officeart/2005/8/layout/vList2"/>
    <dgm:cxn modelId="{BDB49B0D-8351-4043-960A-B3919C45543E}" srcId="{DD9687F0-4C1B-4730-8186-5CA9EF7AADE8}" destId="{37C0A0FD-1105-4575-B118-CAEFA98E35F1}" srcOrd="0" destOrd="0" parTransId="{346A9856-5A5E-457F-97C5-2E4ADF1CE6B3}" sibTransId="{F38CE2CB-0A34-420A-B36A-D321D31961C2}"/>
    <dgm:cxn modelId="{835EA4B3-BF81-4BE0-B439-4D084A5CD76C}" type="presOf" srcId="{0473D689-9B13-4A18-8BC8-2C97EA0B5112}" destId="{790E7922-3307-4A5C-9E22-4082A980A5F8}" srcOrd="0" destOrd="0" presId="urn:microsoft.com/office/officeart/2005/8/layout/vList2"/>
    <dgm:cxn modelId="{7A8BAEB8-7D78-4891-A325-90DB06525941}" srcId="{DD9687F0-4C1B-4730-8186-5CA9EF7AADE8}" destId="{D9E94619-08BB-493E-8F1F-6E7C5090092B}" srcOrd="1" destOrd="0" parTransId="{F4E26FBC-5421-4B69-B81F-28A16E70D298}" sibTransId="{AACC0DE3-2DEF-4C34-A5C1-0CA392B6469D}"/>
    <dgm:cxn modelId="{17FC2FF2-4152-4429-91DC-AB2905F19356}" type="presOf" srcId="{D9E94619-08BB-493E-8F1F-6E7C5090092B}" destId="{C28D2B83-28F4-4AAC-9A7E-852E7E9D134F}" srcOrd="0" destOrd="0" presId="urn:microsoft.com/office/officeart/2005/8/layout/vList2"/>
    <dgm:cxn modelId="{F0101B6E-83B2-4CEC-ACFC-1CA68F125BE9}" srcId="{DD9687F0-4C1B-4730-8186-5CA9EF7AADE8}" destId="{0473D689-9B13-4A18-8BC8-2C97EA0B5112}" srcOrd="2" destOrd="0" parTransId="{D5BA34E6-AB92-4496-9B3F-A6EA9BC3A3B5}" sibTransId="{8224B948-1B19-419A-9ED4-0A829CB677AF}"/>
    <dgm:cxn modelId="{C5F5C492-007A-4526-9851-B21CACF930E0}" type="presParOf" srcId="{5C8B03C1-4F03-47BB-84F5-13ED0908CF39}" destId="{48A71C65-67E0-4022-AB48-F384F0A16962}" srcOrd="0" destOrd="0" presId="urn:microsoft.com/office/officeart/2005/8/layout/vList2"/>
    <dgm:cxn modelId="{B41D9F7F-423C-419F-82BF-939C97D9E721}" type="presParOf" srcId="{5C8B03C1-4F03-47BB-84F5-13ED0908CF39}" destId="{93FFC2BA-C192-4742-BF1E-5906E27161A1}" srcOrd="1" destOrd="0" presId="urn:microsoft.com/office/officeart/2005/8/layout/vList2"/>
    <dgm:cxn modelId="{2B1D09A5-8CF0-49B5-8CA4-4E67C43C541B}" type="presParOf" srcId="{5C8B03C1-4F03-47BB-84F5-13ED0908CF39}" destId="{C28D2B83-28F4-4AAC-9A7E-852E7E9D134F}" srcOrd="2" destOrd="0" presId="urn:microsoft.com/office/officeart/2005/8/layout/vList2"/>
    <dgm:cxn modelId="{14C6F993-B384-4320-8A43-B7CEDBDE8951}" type="presParOf" srcId="{5C8B03C1-4F03-47BB-84F5-13ED0908CF39}" destId="{D54DEE7E-9F86-4ACE-80D6-68AC96EF35C6}" srcOrd="3" destOrd="0" presId="urn:microsoft.com/office/officeart/2005/8/layout/vList2"/>
    <dgm:cxn modelId="{C88F4249-6631-4DD8-BD86-FD786F6368F0}" type="presParOf" srcId="{5C8B03C1-4F03-47BB-84F5-13ED0908CF39}" destId="{790E7922-3307-4A5C-9E22-4082A980A5F8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8AC76D6-2EA5-40A3-B462-FBD69C44EACB}" type="doc">
      <dgm:prSet loTypeId="urn:microsoft.com/office/officeart/2005/8/layout/list1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716BFCFA-2A7C-4F62-9FDA-26A0B74BFF3C}">
      <dgm:prSet phldrT="[Text]" custT="1"/>
      <dgm:spPr/>
      <dgm:t>
        <a:bodyPr/>
        <a:lstStyle/>
        <a:p>
          <a:r>
            <a:rPr lang="en-US" sz="1800" dirty="0" smtClean="0"/>
            <a:t>Modeled on the concept of data processing pipelines. </a:t>
          </a:r>
          <a:endParaRPr lang="en-US" sz="1800" dirty="0"/>
        </a:p>
      </dgm:t>
    </dgm:pt>
    <dgm:pt modelId="{FD1AFE56-66ED-47FC-B722-E75BA923C787}" type="parTrans" cxnId="{7456568E-813D-4F24-9589-72608AE63F83}">
      <dgm:prSet/>
      <dgm:spPr/>
      <dgm:t>
        <a:bodyPr/>
        <a:lstStyle/>
        <a:p>
          <a:endParaRPr lang="en-US" sz="1800"/>
        </a:p>
      </dgm:t>
    </dgm:pt>
    <dgm:pt modelId="{DEF7075E-BD0F-4991-90A7-406803DD1D92}" type="sibTrans" cxnId="{7456568E-813D-4F24-9589-72608AE63F83}">
      <dgm:prSet/>
      <dgm:spPr/>
      <dgm:t>
        <a:bodyPr/>
        <a:lstStyle/>
        <a:p>
          <a:endParaRPr lang="en-US" sz="1800"/>
        </a:p>
      </dgm:t>
    </dgm:pt>
    <dgm:pt modelId="{D667C216-E314-47BD-80C7-C39D81D5E550}">
      <dgm:prSet phldrT="[Text]" custT="1"/>
      <dgm:spPr/>
      <dgm:t>
        <a:bodyPr/>
        <a:lstStyle/>
        <a:p>
          <a:r>
            <a:rPr lang="en-US" sz="1800" dirty="0" smtClean="0"/>
            <a:t>Provides:</a:t>
          </a:r>
          <a:endParaRPr lang="en-US" sz="1800" dirty="0"/>
        </a:p>
      </dgm:t>
    </dgm:pt>
    <dgm:pt modelId="{1666DEA1-D93C-4913-ABA2-0CA9CDE3458B}" type="parTrans" cxnId="{9AB9D79E-EBCD-4F3B-83C2-2C034511652A}">
      <dgm:prSet/>
      <dgm:spPr/>
      <dgm:t>
        <a:bodyPr/>
        <a:lstStyle/>
        <a:p>
          <a:endParaRPr lang="en-US" sz="1800"/>
        </a:p>
      </dgm:t>
    </dgm:pt>
    <dgm:pt modelId="{49B2276B-AB2A-4622-ABB4-A33D00C3681C}" type="sibTrans" cxnId="{9AB9D79E-EBCD-4F3B-83C2-2C034511652A}">
      <dgm:prSet/>
      <dgm:spPr/>
      <dgm:t>
        <a:bodyPr/>
        <a:lstStyle/>
        <a:p>
          <a:endParaRPr lang="en-US" sz="1800"/>
        </a:p>
      </dgm:t>
    </dgm:pt>
    <dgm:pt modelId="{A0C6286B-0950-4239-A214-78F7E37ACC70}">
      <dgm:prSet phldrT="[Text]" custT="1"/>
      <dgm:spPr/>
      <dgm:t>
        <a:bodyPr/>
        <a:lstStyle/>
        <a:p>
          <a:r>
            <a:rPr lang="en-US" sz="1800" dirty="0" smtClean="0"/>
            <a:t>Provides tools for:</a:t>
          </a:r>
          <a:endParaRPr lang="en-US" sz="1800" dirty="0"/>
        </a:p>
      </dgm:t>
    </dgm:pt>
    <dgm:pt modelId="{AD247D11-83D2-4827-B129-9E2BBBEF9839}" type="parTrans" cxnId="{299EA11F-492B-4ECD-B71F-A6C26E8B2F82}">
      <dgm:prSet/>
      <dgm:spPr/>
      <dgm:t>
        <a:bodyPr/>
        <a:lstStyle/>
        <a:p>
          <a:endParaRPr lang="en-US" sz="1800"/>
        </a:p>
      </dgm:t>
    </dgm:pt>
    <dgm:pt modelId="{18D21D98-6D3F-4A81-A2DF-FC747CC963AB}" type="sibTrans" cxnId="{299EA11F-492B-4ECD-B71F-A6C26E8B2F82}">
      <dgm:prSet/>
      <dgm:spPr/>
      <dgm:t>
        <a:bodyPr/>
        <a:lstStyle/>
        <a:p>
          <a:endParaRPr lang="en-US" sz="1800"/>
        </a:p>
      </dgm:t>
    </dgm:pt>
    <dgm:pt modelId="{4E65B0A3-32E4-49B5-A552-84ABBB2711FD}">
      <dgm:prSet custT="1"/>
      <dgm:spPr/>
      <dgm:t>
        <a:bodyPr/>
        <a:lstStyle/>
        <a:p>
          <a:r>
            <a:rPr lang="en-US" sz="1800" i="1" dirty="0" smtClean="0"/>
            <a:t>Filters</a:t>
          </a:r>
          <a:r>
            <a:rPr lang="en-US" sz="1800" dirty="0" smtClean="0"/>
            <a:t> that operate like queries.</a:t>
          </a:r>
          <a:endParaRPr lang="en-US" sz="1800" dirty="0"/>
        </a:p>
      </dgm:t>
    </dgm:pt>
    <dgm:pt modelId="{33D6FBB4-C55C-466E-A067-164FC10778E7}" type="parTrans" cxnId="{4F1C380A-C407-47DE-A5F5-C6EFD6B831BF}">
      <dgm:prSet/>
      <dgm:spPr/>
      <dgm:t>
        <a:bodyPr/>
        <a:lstStyle/>
        <a:p>
          <a:endParaRPr lang="en-US" sz="1800"/>
        </a:p>
      </dgm:t>
    </dgm:pt>
    <dgm:pt modelId="{A9C714D3-D81F-4EE9-B834-EDB5E43C9937}" type="sibTrans" cxnId="{4F1C380A-C407-47DE-A5F5-C6EFD6B831BF}">
      <dgm:prSet/>
      <dgm:spPr/>
      <dgm:t>
        <a:bodyPr/>
        <a:lstStyle/>
        <a:p>
          <a:endParaRPr lang="en-US" sz="1800"/>
        </a:p>
      </dgm:t>
    </dgm:pt>
    <dgm:pt modelId="{54B697D0-9F40-4690-9561-52268A235282}">
      <dgm:prSet custT="1"/>
      <dgm:spPr/>
      <dgm:t>
        <a:bodyPr/>
        <a:lstStyle/>
        <a:p>
          <a:r>
            <a:rPr lang="en-US" sz="1800" i="1" dirty="0" smtClean="0"/>
            <a:t>Document transformations</a:t>
          </a:r>
          <a:r>
            <a:rPr lang="en-US" sz="1800" dirty="0" smtClean="0"/>
            <a:t> that modify the form of the output document.</a:t>
          </a:r>
          <a:endParaRPr lang="en-US" sz="1800" dirty="0"/>
        </a:p>
      </dgm:t>
    </dgm:pt>
    <dgm:pt modelId="{3B813DF2-0735-434C-B301-43154DFE7BFE}" type="parTrans" cxnId="{99F84E00-2581-4B6E-B8BD-3AD9B64AB4F7}">
      <dgm:prSet/>
      <dgm:spPr/>
      <dgm:t>
        <a:bodyPr/>
        <a:lstStyle/>
        <a:p>
          <a:endParaRPr lang="en-US" sz="1800"/>
        </a:p>
      </dgm:t>
    </dgm:pt>
    <dgm:pt modelId="{CF935C5E-28F0-4B92-8494-072FDA2BA6F4}" type="sibTrans" cxnId="{99F84E00-2581-4B6E-B8BD-3AD9B64AB4F7}">
      <dgm:prSet/>
      <dgm:spPr/>
      <dgm:t>
        <a:bodyPr/>
        <a:lstStyle/>
        <a:p>
          <a:endParaRPr lang="en-US" sz="1800"/>
        </a:p>
      </dgm:t>
    </dgm:pt>
    <dgm:pt modelId="{FB12899B-C3A9-414B-9345-53E279D6F1F2}">
      <dgm:prSet custT="1"/>
      <dgm:spPr/>
      <dgm:t>
        <a:bodyPr/>
        <a:lstStyle/>
        <a:p>
          <a:r>
            <a:rPr lang="en-US" sz="1800" dirty="0" smtClean="0"/>
            <a:t>Grouping and sorting by field.</a:t>
          </a:r>
          <a:endParaRPr lang="en-US" sz="1800" dirty="0"/>
        </a:p>
      </dgm:t>
    </dgm:pt>
    <dgm:pt modelId="{85EFE490-28E6-4F4C-A63B-26E34DDEB5B8}" type="parTrans" cxnId="{DD0E3D08-B828-47E6-9DFB-90E0769BA483}">
      <dgm:prSet/>
      <dgm:spPr/>
      <dgm:t>
        <a:bodyPr/>
        <a:lstStyle/>
        <a:p>
          <a:endParaRPr lang="en-US" sz="1800"/>
        </a:p>
      </dgm:t>
    </dgm:pt>
    <dgm:pt modelId="{2B1DF9A9-1E5D-47D0-9CD1-288FBA493D04}" type="sibTrans" cxnId="{DD0E3D08-B828-47E6-9DFB-90E0769BA483}">
      <dgm:prSet/>
      <dgm:spPr/>
      <dgm:t>
        <a:bodyPr/>
        <a:lstStyle/>
        <a:p>
          <a:endParaRPr lang="en-US" sz="1800"/>
        </a:p>
      </dgm:t>
    </dgm:pt>
    <dgm:pt modelId="{FA78204E-2A4C-4497-A322-11ECD416D78C}">
      <dgm:prSet custT="1"/>
      <dgm:spPr/>
      <dgm:t>
        <a:bodyPr/>
        <a:lstStyle/>
        <a:p>
          <a:r>
            <a:rPr lang="en-US" sz="1800" dirty="0" smtClean="0"/>
            <a:t>Aggregating the contents of arrays, including arrays of documents.</a:t>
          </a:r>
        </a:p>
      </dgm:t>
    </dgm:pt>
    <dgm:pt modelId="{ED8CC37B-07EC-460F-91BA-EE4CB8F9E37A}" type="parTrans" cxnId="{1201AA91-A32B-4D81-970E-9AC185E0CAF9}">
      <dgm:prSet/>
      <dgm:spPr/>
      <dgm:t>
        <a:bodyPr/>
        <a:lstStyle/>
        <a:p>
          <a:endParaRPr lang="en-US" sz="1800"/>
        </a:p>
      </dgm:t>
    </dgm:pt>
    <dgm:pt modelId="{42368149-FF6D-44A0-B806-0DFBBFFED726}" type="sibTrans" cxnId="{1201AA91-A32B-4D81-970E-9AC185E0CAF9}">
      <dgm:prSet/>
      <dgm:spPr/>
      <dgm:t>
        <a:bodyPr/>
        <a:lstStyle/>
        <a:p>
          <a:endParaRPr lang="en-US" sz="1800"/>
        </a:p>
      </dgm:t>
    </dgm:pt>
    <dgm:pt modelId="{3FAAD1EE-C590-425F-BB7E-F140DC64CD19}">
      <dgm:prSet phldrT="[Text]" custT="1"/>
      <dgm:spPr/>
      <dgm:t>
        <a:bodyPr/>
        <a:lstStyle/>
        <a:p>
          <a:r>
            <a:rPr lang="en-US" sz="1800" dirty="0" smtClean="0"/>
            <a:t>Can use </a:t>
          </a:r>
          <a:r>
            <a:rPr lang="en-US" sz="1800" b="1" dirty="0" smtClean="0"/>
            <a:t>operators </a:t>
          </a:r>
          <a:r>
            <a:rPr lang="en-US" sz="1800" dirty="0" smtClean="0"/>
            <a:t>for tasks such as calculating the average or concatenating a string.</a:t>
          </a:r>
          <a:endParaRPr lang="en-US" sz="1800" dirty="0"/>
        </a:p>
      </dgm:t>
    </dgm:pt>
    <dgm:pt modelId="{CA5727B1-6736-4D8C-A91E-F999E417E19C}" type="parTrans" cxnId="{66CA8A8F-CC7E-4E42-9BC4-6DB1DAEE23E4}">
      <dgm:prSet/>
      <dgm:spPr/>
      <dgm:t>
        <a:bodyPr/>
        <a:lstStyle/>
        <a:p>
          <a:endParaRPr lang="en-US" sz="1800"/>
        </a:p>
      </dgm:t>
    </dgm:pt>
    <dgm:pt modelId="{3CEA535B-4DF3-4CD3-908B-629FE2F23752}" type="sibTrans" cxnId="{66CA8A8F-CC7E-4E42-9BC4-6DB1DAEE23E4}">
      <dgm:prSet/>
      <dgm:spPr/>
      <dgm:t>
        <a:bodyPr/>
        <a:lstStyle/>
        <a:p>
          <a:endParaRPr lang="en-US" sz="1800"/>
        </a:p>
      </dgm:t>
    </dgm:pt>
    <dgm:pt modelId="{9B0B7EAF-89D5-460B-AE48-10FC0514521E}" type="pres">
      <dgm:prSet presAssocID="{B8AC76D6-2EA5-40A3-B462-FBD69C44EACB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B706C2F-2994-4C9E-BC5E-C1B771DFC2CB}" type="pres">
      <dgm:prSet presAssocID="{716BFCFA-2A7C-4F62-9FDA-26A0B74BFF3C}" presName="parentLin" presStyleCnt="0"/>
      <dgm:spPr/>
    </dgm:pt>
    <dgm:pt modelId="{84DA5E2A-E418-4251-A647-71784356CE8E}" type="pres">
      <dgm:prSet presAssocID="{716BFCFA-2A7C-4F62-9FDA-26A0B74BFF3C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24CD8E01-9CF2-484E-9584-DF7B8CE93360}" type="pres">
      <dgm:prSet presAssocID="{716BFCFA-2A7C-4F62-9FDA-26A0B74BFF3C}" presName="parentText" presStyleLbl="node1" presStyleIdx="0" presStyleCnt="4" custScaleX="12276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B76259F-BF03-4AA1-A35C-BDA9BA18029E}" type="pres">
      <dgm:prSet presAssocID="{716BFCFA-2A7C-4F62-9FDA-26A0B74BFF3C}" presName="negativeSpace" presStyleCnt="0"/>
      <dgm:spPr/>
    </dgm:pt>
    <dgm:pt modelId="{6587DB6D-F368-47F6-911C-C77FCCE998CD}" type="pres">
      <dgm:prSet presAssocID="{716BFCFA-2A7C-4F62-9FDA-26A0B74BFF3C}" presName="childText" presStyleLbl="conFgAcc1" presStyleIdx="0" presStyleCnt="4">
        <dgm:presLayoutVars>
          <dgm:bulletEnabled val="1"/>
        </dgm:presLayoutVars>
      </dgm:prSet>
      <dgm:spPr/>
    </dgm:pt>
    <dgm:pt modelId="{1D0FDEAB-ED4B-4039-826B-90A84F706A8C}" type="pres">
      <dgm:prSet presAssocID="{DEF7075E-BD0F-4991-90A7-406803DD1D92}" presName="spaceBetweenRectangles" presStyleCnt="0"/>
      <dgm:spPr/>
    </dgm:pt>
    <dgm:pt modelId="{9FB238CF-8509-4A30-A393-367089FF7CE7}" type="pres">
      <dgm:prSet presAssocID="{D667C216-E314-47BD-80C7-C39D81D5E550}" presName="parentLin" presStyleCnt="0"/>
      <dgm:spPr/>
    </dgm:pt>
    <dgm:pt modelId="{3ACA80BD-CB7D-41A7-80EC-70B34672386E}" type="pres">
      <dgm:prSet presAssocID="{D667C216-E314-47BD-80C7-C39D81D5E550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0CD2B781-12C5-44E4-9C0E-BAF26FA2676C}" type="pres">
      <dgm:prSet presAssocID="{D667C216-E314-47BD-80C7-C39D81D5E550}" presName="parentText" presStyleLbl="node1" presStyleIdx="1" presStyleCnt="4" custScaleX="12276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7948457-DB3E-459E-BAF2-9BF62F8574A5}" type="pres">
      <dgm:prSet presAssocID="{D667C216-E314-47BD-80C7-C39D81D5E550}" presName="negativeSpace" presStyleCnt="0"/>
      <dgm:spPr/>
    </dgm:pt>
    <dgm:pt modelId="{9E17DFDC-F6CB-43BB-90FA-E204A06D5761}" type="pres">
      <dgm:prSet presAssocID="{D667C216-E314-47BD-80C7-C39D81D5E550}" presName="childText" presStyleLbl="conFgAcc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E89506-05C7-4328-8047-B10D0B40F8CD}" type="pres">
      <dgm:prSet presAssocID="{49B2276B-AB2A-4622-ABB4-A33D00C3681C}" presName="spaceBetweenRectangles" presStyleCnt="0"/>
      <dgm:spPr/>
    </dgm:pt>
    <dgm:pt modelId="{714690C4-DA01-413E-8A05-8FE49C70DC98}" type="pres">
      <dgm:prSet presAssocID="{A0C6286B-0950-4239-A214-78F7E37ACC70}" presName="parentLin" presStyleCnt="0"/>
      <dgm:spPr/>
    </dgm:pt>
    <dgm:pt modelId="{D69EA628-1055-4D40-A781-1CC121B684DB}" type="pres">
      <dgm:prSet presAssocID="{A0C6286B-0950-4239-A214-78F7E37ACC70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3B53CE21-79EC-44D1-9E7C-71E642773055}" type="pres">
      <dgm:prSet presAssocID="{A0C6286B-0950-4239-A214-78F7E37ACC70}" presName="parentText" presStyleLbl="node1" presStyleIdx="2" presStyleCnt="4" custScaleX="12276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3354BF-539C-4173-AB9D-6AC8E094AD09}" type="pres">
      <dgm:prSet presAssocID="{A0C6286B-0950-4239-A214-78F7E37ACC70}" presName="negativeSpace" presStyleCnt="0"/>
      <dgm:spPr/>
    </dgm:pt>
    <dgm:pt modelId="{143B3A84-25AC-4DDF-A7FD-0749F14E4872}" type="pres">
      <dgm:prSet presAssocID="{A0C6286B-0950-4239-A214-78F7E37ACC70}" presName="childText" presStyleLbl="conFgAcc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FEF979-47DA-49F8-9507-48BB26960FBD}" type="pres">
      <dgm:prSet presAssocID="{18D21D98-6D3F-4A81-A2DF-FC747CC963AB}" presName="spaceBetweenRectangles" presStyleCnt="0"/>
      <dgm:spPr/>
    </dgm:pt>
    <dgm:pt modelId="{2CE545F7-2E81-42CF-93AE-5D52535CD76B}" type="pres">
      <dgm:prSet presAssocID="{3FAAD1EE-C590-425F-BB7E-F140DC64CD19}" presName="parentLin" presStyleCnt="0"/>
      <dgm:spPr/>
    </dgm:pt>
    <dgm:pt modelId="{7254A2F9-CAE1-4642-BD5B-02CACBD9F93A}" type="pres">
      <dgm:prSet presAssocID="{3FAAD1EE-C590-425F-BB7E-F140DC64CD19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FDC0158A-3F56-4747-A1D9-C751D67B894C}" type="pres">
      <dgm:prSet presAssocID="{3FAAD1EE-C590-425F-BB7E-F140DC64CD19}" presName="parentText" presStyleLbl="node1" presStyleIdx="3" presStyleCnt="4" custScaleX="12276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E7E62C1-6F90-4836-87D9-01FC659BB325}" type="pres">
      <dgm:prSet presAssocID="{3FAAD1EE-C590-425F-BB7E-F140DC64CD19}" presName="negativeSpace" presStyleCnt="0"/>
      <dgm:spPr/>
    </dgm:pt>
    <dgm:pt modelId="{04C1004A-CCDF-42F3-867A-90258C6475AD}" type="pres">
      <dgm:prSet presAssocID="{3FAAD1EE-C590-425F-BB7E-F140DC64CD19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D8964D9-F44D-4907-A737-26C6D64F3762}" type="presOf" srcId="{716BFCFA-2A7C-4F62-9FDA-26A0B74BFF3C}" destId="{84DA5E2A-E418-4251-A647-71784356CE8E}" srcOrd="0" destOrd="0" presId="urn:microsoft.com/office/officeart/2005/8/layout/list1"/>
    <dgm:cxn modelId="{9AB9D79E-EBCD-4F3B-83C2-2C034511652A}" srcId="{B8AC76D6-2EA5-40A3-B462-FBD69C44EACB}" destId="{D667C216-E314-47BD-80C7-C39D81D5E550}" srcOrd="1" destOrd="0" parTransId="{1666DEA1-D93C-4913-ABA2-0CA9CDE3458B}" sibTransId="{49B2276B-AB2A-4622-ABB4-A33D00C3681C}"/>
    <dgm:cxn modelId="{299EA11F-492B-4ECD-B71F-A6C26E8B2F82}" srcId="{B8AC76D6-2EA5-40A3-B462-FBD69C44EACB}" destId="{A0C6286B-0950-4239-A214-78F7E37ACC70}" srcOrd="2" destOrd="0" parTransId="{AD247D11-83D2-4827-B129-9E2BBBEF9839}" sibTransId="{18D21D98-6D3F-4A81-A2DF-FC747CC963AB}"/>
    <dgm:cxn modelId="{7BF70B28-A670-48FE-9F93-54AB50F66980}" type="presOf" srcId="{716BFCFA-2A7C-4F62-9FDA-26A0B74BFF3C}" destId="{24CD8E01-9CF2-484E-9584-DF7B8CE93360}" srcOrd="1" destOrd="0" presId="urn:microsoft.com/office/officeart/2005/8/layout/list1"/>
    <dgm:cxn modelId="{DD0E3D08-B828-47E6-9DFB-90E0769BA483}" srcId="{A0C6286B-0950-4239-A214-78F7E37ACC70}" destId="{FB12899B-C3A9-414B-9345-53E279D6F1F2}" srcOrd="0" destOrd="0" parTransId="{85EFE490-28E6-4F4C-A63B-26E34DDEB5B8}" sibTransId="{2B1DF9A9-1E5D-47D0-9CD1-288FBA493D04}"/>
    <dgm:cxn modelId="{B8F4DCF1-970A-4FCB-BE85-7A0086DEDA4C}" type="presOf" srcId="{54B697D0-9F40-4690-9561-52268A235282}" destId="{9E17DFDC-F6CB-43BB-90FA-E204A06D5761}" srcOrd="0" destOrd="1" presId="urn:microsoft.com/office/officeart/2005/8/layout/list1"/>
    <dgm:cxn modelId="{9486D199-DE80-4BD5-A91F-CDD24C1408FF}" type="presOf" srcId="{FA78204E-2A4C-4497-A322-11ECD416D78C}" destId="{143B3A84-25AC-4DDF-A7FD-0749F14E4872}" srcOrd="0" destOrd="1" presId="urn:microsoft.com/office/officeart/2005/8/layout/list1"/>
    <dgm:cxn modelId="{2DCE0159-FA9B-41D3-8E8F-E38CD2C413FA}" type="presOf" srcId="{B8AC76D6-2EA5-40A3-B462-FBD69C44EACB}" destId="{9B0B7EAF-89D5-460B-AE48-10FC0514521E}" srcOrd="0" destOrd="0" presId="urn:microsoft.com/office/officeart/2005/8/layout/list1"/>
    <dgm:cxn modelId="{66CA8A8F-CC7E-4E42-9BC4-6DB1DAEE23E4}" srcId="{B8AC76D6-2EA5-40A3-B462-FBD69C44EACB}" destId="{3FAAD1EE-C590-425F-BB7E-F140DC64CD19}" srcOrd="3" destOrd="0" parTransId="{CA5727B1-6736-4D8C-A91E-F999E417E19C}" sibTransId="{3CEA535B-4DF3-4CD3-908B-629FE2F23752}"/>
    <dgm:cxn modelId="{7456568E-813D-4F24-9589-72608AE63F83}" srcId="{B8AC76D6-2EA5-40A3-B462-FBD69C44EACB}" destId="{716BFCFA-2A7C-4F62-9FDA-26A0B74BFF3C}" srcOrd="0" destOrd="0" parTransId="{FD1AFE56-66ED-47FC-B722-E75BA923C787}" sibTransId="{DEF7075E-BD0F-4991-90A7-406803DD1D92}"/>
    <dgm:cxn modelId="{2AFC854F-6BCB-46CB-8DBC-23AFEB551EE5}" type="presOf" srcId="{A0C6286B-0950-4239-A214-78F7E37ACC70}" destId="{3B53CE21-79EC-44D1-9E7C-71E642773055}" srcOrd="1" destOrd="0" presId="urn:microsoft.com/office/officeart/2005/8/layout/list1"/>
    <dgm:cxn modelId="{AB479228-88AF-4704-86ED-2B0F8997D651}" type="presOf" srcId="{A0C6286B-0950-4239-A214-78F7E37ACC70}" destId="{D69EA628-1055-4D40-A781-1CC121B684DB}" srcOrd="0" destOrd="0" presId="urn:microsoft.com/office/officeart/2005/8/layout/list1"/>
    <dgm:cxn modelId="{3602313A-4CD8-450F-8082-4D7A27129838}" type="presOf" srcId="{D667C216-E314-47BD-80C7-C39D81D5E550}" destId="{3ACA80BD-CB7D-41A7-80EC-70B34672386E}" srcOrd="0" destOrd="0" presId="urn:microsoft.com/office/officeart/2005/8/layout/list1"/>
    <dgm:cxn modelId="{B58D855F-E0CE-4911-9509-A4F572911DA0}" type="presOf" srcId="{3FAAD1EE-C590-425F-BB7E-F140DC64CD19}" destId="{7254A2F9-CAE1-4642-BD5B-02CACBD9F93A}" srcOrd="0" destOrd="0" presId="urn:microsoft.com/office/officeart/2005/8/layout/list1"/>
    <dgm:cxn modelId="{99F84E00-2581-4B6E-B8BD-3AD9B64AB4F7}" srcId="{D667C216-E314-47BD-80C7-C39D81D5E550}" destId="{54B697D0-9F40-4690-9561-52268A235282}" srcOrd="1" destOrd="0" parTransId="{3B813DF2-0735-434C-B301-43154DFE7BFE}" sibTransId="{CF935C5E-28F0-4B92-8494-072FDA2BA6F4}"/>
    <dgm:cxn modelId="{0EFED072-248B-4331-8DC7-15EB22203932}" type="presOf" srcId="{4E65B0A3-32E4-49B5-A552-84ABBB2711FD}" destId="{9E17DFDC-F6CB-43BB-90FA-E204A06D5761}" srcOrd="0" destOrd="0" presId="urn:microsoft.com/office/officeart/2005/8/layout/list1"/>
    <dgm:cxn modelId="{1201AA91-A32B-4D81-970E-9AC185E0CAF9}" srcId="{A0C6286B-0950-4239-A214-78F7E37ACC70}" destId="{FA78204E-2A4C-4497-A322-11ECD416D78C}" srcOrd="1" destOrd="0" parTransId="{ED8CC37B-07EC-460F-91BA-EE4CB8F9E37A}" sibTransId="{42368149-FF6D-44A0-B806-0DFBBFFED726}"/>
    <dgm:cxn modelId="{4F1C380A-C407-47DE-A5F5-C6EFD6B831BF}" srcId="{D667C216-E314-47BD-80C7-C39D81D5E550}" destId="{4E65B0A3-32E4-49B5-A552-84ABBB2711FD}" srcOrd="0" destOrd="0" parTransId="{33D6FBB4-C55C-466E-A067-164FC10778E7}" sibTransId="{A9C714D3-D81F-4EE9-B834-EDB5E43C9937}"/>
    <dgm:cxn modelId="{778D0ABD-F002-4845-90E8-BE04E668DB62}" type="presOf" srcId="{3FAAD1EE-C590-425F-BB7E-F140DC64CD19}" destId="{FDC0158A-3F56-4747-A1D9-C751D67B894C}" srcOrd="1" destOrd="0" presId="urn:microsoft.com/office/officeart/2005/8/layout/list1"/>
    <dgm:cxn modelId="{24777E52-0FC0-41A4-AEFC-D1D0D6D7C996}" type="presOf" srcId="{D667C216-E314-47BD-80C7-C39D81D5E550}" destId="{0CD2B781-12C5-44E4-9C0E-BAF26FA2676C}" srcOrd="1" destOrd="0" presId="urn:microsoft.com/office/officeart/2005/8/layout/list1"/>
    <dgm:cxn modelId="{BE0C10B7-FEE5-48B5-A400-3A4099F9AFA7}" type="presOf" srcId="{FB12899B-C3A9-414B-9345-53E279D6F1F2}" destId="{143B3A84-25AC-4DDF-A7FD-0749F14E4872}" srcOrd="0" destOrd="0" presId="urn:microsoft.com/office/officeart/2005/8/layout/list1"/>
    <dgm:cxn modelId="{3480F0A8-F25B-4ECE-BBF2-BF34E18A67C4}" type="presParOf" srcId="{9B0B7EAF-89D5-460B-AE48-10FC0514521E}" destId="{7B706C2F-2994-4C9E-BC5E-C1B771DFC2CB}" srcOrd="0" destOrd="0" presId="urn:microsoft.com/office/officeart/2005/8/layout/list1"/>
    <dgm:cxn modelId="{BECE3C40-AF0B-4236-8DD6-135FED7344BC}" type="presParOf" srcId="{7B706C2F-2994-4C9E-BC5E-C1B771DFC2CB}" destId="{84DA5E2A-E418-4251-A647-71784356CE8E}" srcOrd="0" destOrd="0" presId="urn:microsoft.com/office/officeart/2005/8/layout/list1"/>
    <dgm:cxn modelId="{9D535A70-0DF0-48EB-AD1D-0EB7E488409A}" type="presParOf" srcId="{7B706C2F-2994-4C9E-BC5E-C1B771DFC2CB}" destId="{24CD8E01-9CF2-484E-9584-DF7B8CE93360}" srcOrd="1" destOrd="0" presId="urn:microsoft.com/office/officeart/2005/8/layout/list1"/>
    <dgm:cxn modelId="{0D186628-D8D9-40C9-9997-D454B49F4FB7}" type="presParOf" srcId="{9B0B7EAF-89D5-460B-AE48-10FC0514521E}" destId="{CB76259F-BF03-4AA1-A35C-BDA9BA18029E}" srcOrd="1" destOrd="0" presId="urn:microsoft.com/office/officeart/2005/8/layout/list1"/>
    <dgm:cxn modelId="{DB3ABFD8-9698-42DD-A6B1-3681D08BDD20}" type="presParOf" srcId="{9B0B7EAF-89D5-460B-AE48-10FC0514521E}" destId="{6587DB6D-F368-47F6-911C-C77FCCE998CD}" srcOrd="2" destOrd="0" presId="urn:microsoft.com/office/officeart/2005/8/layout/list1"/>
    <dgm:cxn modelId="{191F2B6C-5BDE-4D51-8805-B611B3B9DECC}" type="presParOf" srcId="{9B0B7EAF-89D5-460B-AE48-10FC0514521E}" destId="{1D0FDEAB-ED4B-4039-826B-90A84F706A8C}" srcOrd="3" destOrd="0" presId="urn:microsoft.com/office/officeart/2005/8/layout/list1"/>
    <dgm:cxn modelId="{2FB25402-69EA-4A8F-BEA2-AADA1240AFD6}" type="presParOf" srcId="{9B0B7EAF-89D5-460B-AE48-10FC0514521E}" destId="{9FB238CF-8509-4A30-A393-367089FF7CE7}" srcOrd="4" destOrd="0" presId="urn:microsoft.com/office/officeart/2005/8/layout/list1"/>
    <dgm:cxn modelId="{0ED75BFF-41E6-46A6-8530-7BF6593DC688}" type="presParOf" srcId="{9FB238CF-8509-4A30-A393-367089FF7CE7}" destId="{3ACA80BD-CB7D-41A7-80EC-70B34672386E}" srcOrd="0" destOrd="0" presId="urn:microsoft.com/office/officeart/2005/8/layout/list1"/>
    <dgm:cxn modelId="{E9F36A6F-C49A-4880-8496-D275BEFDC039}" type="presParOf" srcId="{9FB238CF-8509-4A30-A393-367089FF7CE7}" destId="{0CD2B781-12C5-44E4-9C0E-BAF26FA2676C}" srcOrd="1" destOrd="0" presId="urn:microsoft.com/office/officeart/2005/8/layout/list1"/>
    <dgm:cxn modelId="{650ADC61-6EEC-4229-9251-78B88A483DCC}" type="presParOf" srcId="{9B0B7EAF-89D5-460B-AE48-10FC0514521E}" destId="{17948457-DB3E-459E-BAF2-9BF62F8574A5}" srcOrd="5" destOrd="0" presId="urn:microsoft.com/office/officeart/2005/8/layout/list1"/>
    <dgm:cxn modelId="{EF8A54D9-7E04-42BB-94AB-A716B82F6D20}" type="presParOf" srcId="{9B0B7EAF-89D5-460B-AE48-10FC0514521E}" destId="{9E17DFDC-F6CB-43BB-90FA-E204A06D5761}" srcOrd="6" destOrd="0" presId="urn:microsoft.com/office/officeart/2005/8/layout/list1"/>
    <dgm:cxn modelId="{D4457BFB-54BA-45D3-AAA3-C13B66FDCC48}" type="presParOf" srcId="{9B0B7EAF-89D5-460B-AE48-10FC0514521E}" destId="{51E89506-05C7-4328-8047-B10D0B40F8CD}" srcOrd="7" destOrd="0" presId="urn:microsoft.com/office/officeart/2005/8/layout/list1"/>
    <dgm:cxn modelId="{4ED6E336-1C4D-4BEF-9F81-EF81D05F6888}" type="presParOf" srcId="{9B0B7EAF-89D5-460B-AE48-10FC0514521E}" destId="{714690C4-DA01-413E-8A05-8FE49C70DC98}" srcOrd="8" destOrd="0" presId="urn:microsoft.com/office/officeart/2005/8/layout/list1"/>
    <dgm:cxn modelId="{D17E91FB-CAD8-4DB4-AFED-37AA0613CDDE}" type="presParOf" srcId="{714690C4-DA01-413E-8A05-8FE49C70DC98}" destId="{D69EA628-1055-4D40-A781-1CC121B684DB}" srcOrd="0" destOrd="0" presId="urn:microsoft.com/office/officeart/2005/8/layout/list1"/>
    <dgm:cxn modelId="{4695BB5A-DD40-4BFA-8E5E-A041B5D33A5B}" type="presParOf" srcId="{714690C4-DA01-413E-8A05-8FE49C70DC98}" destId="{3B53CE21-79EC-44D1-9E7C-71E642773055}" srcOrd="1" destOrd="0" presId="urn:microsoft.com/office/officeart/2005/8/layout/list1"/>
    <dgm:cxn modelId="{591B15DA-6773-48AD-ADDB-E7265500EAE2}" type="presParOf" srcId="{9B0B7EAF-89D5-460B-AE48-10FC0514521E}" destId="{813354BF-539C-4173-AB9D-6AC8E094AD09}" srcOrd="9" destOrd="0" presId="urn:microsoft.com/office/officeart/2005/8/layout/list1"/>
    <dgm:cxn modelId="{25395A7E-DC6E-4B78-8DD6-9FFC7C6F225A}" type="presParOf" srcId="{9B0B7EAF-89D5-460B-AE48-10FC0514521E}" destId="{143B3A84-25AC-4DDF-A7FD-0749F14E4872}" srcOrd="10" destOrd="0" presId="urn:microsoft.com/office/officeart/2005/8/layout/list1"/>
    <dgm:cxn modelId="{B56B58D9-5FB6-43CC-9659-FAFDEAC531A7}" type="presParOf" srcId="{9B0B7EAF-89D5-460B-AE48-10FC0514521E}" destId="{02FEF979-47DA-49F8-9507-48BB26960FBD}" srcOrd="11" destOrd="0" presId="urn:microsoft.com/office/officeart/2005/8/layout/list1"/>
    <dgm:cxn modelId="{1EECC2DB-2D79-467F-A193-F8F5A19569CC}" type="presParOf" srcId="{9B0B7EAF-89D5-460B-AE48-10FC0514521E}" destId="{2CE545F7-2E81-42CF-93AE-5D52535CD76B}" srcOrd="12" destOrd="0" presId="urn:microsoft.com/office/officeart/2005/8/layout/list1"/>
    <dgm:cxn modelId="{BA8B0A10-D99C-4F1D-96C3-E8D4F02786E7}" type="presParOf" srcId="{2CE545F7-2E81-42CF-93AE-5D52535CD76B}" destId="{7254A2F9-CAE1-4642-BD5B-02CACBD9F93A}" srcOrd="0" destOrd="0" presId="urn:microsoft.com/office/officeart/2005/8/layout/list1"/>
    <dgm:cxn modelId="{0583337E-B19A-4923-8D36-C5FE8FA26171}" type="presParOf" srcId="{2CE545F7-2E81-42CF-93AE-5D52535CD76B}" destId="{FDC0158A-3F56-4747-A1D9-C751D67B894C}" srcOrd="1" destOrd="0" presId="urn:microsoft.com/office/officeart/2005/8/layout/list1"/>
    <dgm:cxn modelId="{C38DC897-005A-435A-96A2-3445683D37F6}" type="presParOf" srcId="{9B0B7EAF-89D5-460B-AE48-10FC0514521E}" destId="{FE7E62C1-6F90-4836-87D9-01FC659BB325}" srcOrd="13" destOrd="0" presId="urn:microsoft.com/office/officeart/2005/8/layout/list1"/>
    <dgm:cxn modelId="{80ECCCE0-E5FF-4541-9053-2F753900CA83}" type="presParOf" srcId="{9B0B7EAF-89D5-460B-AE48-10FC0514521E}" destId="{04C1004A-CCDF-42F3-867A-90258C6475AD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2933E51-C7BC-4230-A224-6F0A3FFD5970}" type="doc">
      <dgm:prSet loTypeId="urn:microsoft.com/office/officeart/2005/8/layout/default#3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0D687938-A22F-44AB-B19B-5ABCD8BC0E3B}">
      <dgm:prSet phldrT="[Text]"/>
      <dgm:spPr/>
      <dgm:t>
        <a:bodyPr/>
        <a:lstStyle/>
        <a:p>
          <a:r>
            <a:rPr lang="en-US" b="1" dirty="0" smtClean="0"/>
            <a:t>$match</a:t>
          </a:r>
          <a:endParaRPr lang="en-US" b="1" dirty="0"/>
        </a:p>
      </dgm:t>
    </dgm:pt>
    <dgm:pt modelId="{50953DD4-76F3-4594-96EA-17DA733DF614}" type="parTrans" cxnId="{C9E04468-8DDD-4663-AF63-3EDA361B7CB5}">
      <dgm:prSet/>
      <dgm:spPr/>
      <dgm:t>
        <a:bodyPr/>
        <a:lstStyle/>
        <a:p>
          <a:endParaRPr lang="en-US" b="1"/>
        </a:p>
      </dgm:t>
    </dgm:pt>
    <dgm:pt modelId="{F78DD562-A5E6-41FB-9E49-204094EE7B1D}" type="sibTrans" cxnId="{C9E04468-8DDD-4663-AF63-3EDA361B7CB5}">
      <dgm:prSet/>
      <dgm:spPr/>
      <dgm:t>
        <a:bodyPr/>
        <a:lstStyle/>
        <a:p>
          <a:endParaRPr lang="en-US" b="1"/>
        </a:p>
      </dgm:t>
    </dgm:pt>
    <dgm:pt modelId="{5FEAB2C1-ACCF-47C0-A1F8-B57ADF146C35}">
      <dgm:prSet phldrT="[Text]"/>
      <dgm:spPr/>
      <dgm:t>
        <a:bodyPr/>
        <a:lstStyle/>
        <a:p>
          <a:r>
            <a:rPr lang="en-US" b="1" dirty="0" smtClean="0"/>
            <a:t>$unwind</a:t>
          </a:r>
          <a:endParaRPr lang="en-US" b="1" dirty="0"/>
        </a:p>
      </dgm:t>
    </dgm:pt>
    <dgm:pt modelId="{4D934BE6-F2F9-41E9-991D-837A806EDB2B}" type="parTrans" cxnId="{ABB92FC5-60D1-4B3D-B1CD-78F0BB9A7745}">
      <dgm:prSet/>
      <dgm:spPr/>
      <dgm:t>
        <a:bodyPr/>
        <a:lstStyle/>
        <a:p>
          <a:endParaRPr lang="en-US" b="1"/>
        </a:p>
      </dgm:t>
    </dgm:pt>
    <dgm:pt modelId="{30FFAB23-2E93-461D-9849-704F173A7B4B}" type="sibTrans" cxnId="{ABB92FC5-60D1-4B3D-B1CD-78F0BB9A7745}">
      <dgm:prSet/>
      <dgm:spPr/>
      <dgm:t>
        <a:bodyPr/>
        <a:lstStyle/>
        <a:p>
          <a:endParaRPr lang="en-US" b="1"/>
        </a:p>
      </dgm:t>
    </dgm:pt>
    <dgm:pt modelId="{B69696D2-0327-4D37-A169-FC9F10C39416}">
      <dgm:prSet phldrT="[Text]"/>
      <dgm:spPr/>
      <dgm:t>
        <a:bodyPr/>
        <a:lstStyle/>
        <a:p>
          <a:r>
            <a:rPr lang="en-US" b="1" dirty="0" smtClean="0"/>
            <a:t>$group</a:t>
          </a:r>
          <a:endParaRPr lang="en-US" b="1" dirty="0"/>
        </a:p>
      </dgm:t>
    </dgm:pt>
    <dgm:pt modelId="{4B36135F-ACDE-444E-97BA-CA1971EF266A}" type="parTrans" cxnId="{EE9AD8EC-B405-479A-ADEB-51E8FEB7602C}">
      <dgm:prSet/>
      <dgm:spPr/>
      <dgm:t>
        <a:bodyPr/>
        <a:lstStyle/>
        <a:p>
          <a:endParaRPr lang="en-US" b="1"/>
        </a:p>
      </dgm:t>
    </dgm:pt>
    <dgm:pt modelId="{4A47D431-BA10-4DCA-958A-9CA81CB6455F}" type="sibTrans" cxnId="{EE9AD8EC-B405-479A-ADEB-51E8FEB7602C}">
      <dgm:prSet/>
      <dgm:spPr/>
      <dgm:t>
        <a:bodyPr/>
        <a:lstStyle/>
        <a:p>
          <a:endParaRPr lang="en-US" b="1"/>
        </a:p>
      </dgm:t>
    </dgm:pt>
    <dgm:pt modelId="{9C77E267-D485-483B-ADCE-8AEAD300228D}">
      <dgm:prSet phldrT="[Text]"/>
      <dgm:spPr/>
      <dgm:t>
        <a:bodyPr/>
        <a:lstStyle/>
        <a:p>
          <a:r>
            <a:rPr lang="en-US" b="1" dirty="0" smtClean="0"/>
            <a:t>$project</a:t>
          </a:r>
          <a:endParaRPr lang="en-US" b="1" dirty="0"/>
        </a:p>
      </dgm:t>
    </dgm:pt>
    <dgm:pt modelId="{114339BE-7188-43DF-80D2-714F3D9DA5DB}" type="parTrans" cxnId="{8297ACD8-A53D-4C3A-8CCA-478F6BB064F1}">
      <dgm:prSet/>
      <dgm:spPr/>
      <dgm:t>
        <a:bodyPr/>
        <a:lstStyle/>
        <a:p>
          <a:endParaRPr lang="en-US" b="1"/>
        </a:p>
      </dgm:t>
    </dgm:pt>
    <dgm:pt modelId="{25C8D13A-D294-4F62-80EC-6E8BC1F0329D}" type="sibTrans" cxnId="{8297ACD8-A53D-4C3A-8CCA-478F6BB064F1}">
      <dgm:prSet/>
      <dgm:spPr/>
      <dgm:t>
        <a:bodyPr/>
        <a:lstStyle/>
        <a:p>
          <a:endParaRPr lang="en-US" b="1"/>
        </a:p>
      </dgm:t>
    </dgm:pt>
    <dgm:pt modelId="{26BBDB6C-6711-4DD1-B0B9-94D0DD269C46}">
      <dgm:prSet phldrT="[Text]"/>
      <dgm:spPr/>
      <dgm:t>
        <a:bodyPr/>
        <a:lstStyle/>
        <a:p>
          <a:r>
            <a:rPr lang="en-US" b="1" dirty="0" smtClean="0"/>
            <a:t>$skip</a:t>
          </a:r>
          <a:endParaRPr lang="en-US" b="1" dirty="0"/>
        </a:p>
      </dgm:t>
    </dgm:pt>
    <dgm:pt modelId="{10C5B285-A4A4-4FAB-BEAA-203513619F88}" type="parTrans" cxnId="{433A1C47-07D9-481A-A161-9E1C3CF2187B}">
      <dgm:prSet/>
      <dgm:spPr/>
      <dgm:t>
        <a:bodyPr/>
        <a:lstStyle/>
        <a:p>
          <a:endParaRPr lang="en-US" b="1"/>
        </a:p>
      </dgm:t>
    </dgm:pt>
    <dgm:pt modelId="{19A1E897-0058-47DF-A6AC-39B1EFE2F3D9}" type="sibTrans" cxnId="{433A1C47-07D9-481A-A161-9E1C3CF2187B}">
      <dgm:prSet/>
      <dgm:spPr/>
      <dgm:t>
        <a:bodyPr/>
        <a:lstStyle/>
        <a:p>
          <a:endParaRPr lang="en-US" b="1"/>
        </a:p>
      </dgm:t>
    </dgm:pt>
    <dgm:pt modelId="{60111D45-3C39-4D96-8E3A-0D034D8EFE63}">
      <dgm:prSet phldrT="[Text]"/>
      <dgm:spPr/>
      <dgm:t>
        <a:bodyPr/>
        <a:lstStyle/>
        <a:p>
          <a:r>
            <a:rPr lang="en-US" b="1" dirty="0" smtClean="0"/>
            <a:t>$limit</a:t>
          </a:r>
          <a:endParaRPr lang="en-US" b="1" dirty="0"/>
        </a:p>
      </dgm:t>
    </dgm:pt>
    <dgm:pt modelId="{3CFA1D57-83C1-4C7C-BE81-A8DF65B8582A}" type="parTrans" cxnId="{183BA536-62BA-4BB6-AABA-CFBF6417AB91}">
      <dgm:prSet/>
      <dgm:spPr/>
      <dgm:t>
        <a:bodyPr/>
        <a:lstStyle/>
        <a:p>
          <a:endParaRPr lang="en-US" b="1"/>
        </a:p>
      </dgm:t>
    </dgm:pt>
    <dgm:pt modelId="{41828063-A0A9-4760-8B20-3C316D915E55}" type="sibTrans" cxnId="{183BA536-62BA-4BB6-AABA-CFBF6417AB91}">
      <dgm:prSet/>
      <dgm:spPr/>
      <dgm:t>
        <a:bodyPr/>
        <a:lstStyle/>
        <a:p>
          <a:endParaRPr lang="en-US" b="1"/>
        </a:p>
      </dgm:t>
    </dgm:pt>
    <dgm:pt modelId="{C920C9D2-C22C-4278-8FB5-447ADB746FA7}">
      <dgm:prSet phldrT="[Text]"/>
      <dgm:spPr/>
      <dgm:t>
        <a:bodyPr/>
        <a:lstStyle/>
        <a:p>
          <a:r>
            <a:rPr lang="en-US" b="1" dirty="0" smtClean="0"/>
            <a:t>$sort</a:t>
          </a:r>
          <a:endParaRPr lang="en-US" b="1" dirty="0"/>
        </a:p>
      </dgm:t>
    </dgm:pt>
    <dgm:pt modelId="{50B80F4E-1397-451B-9AF0-836C77B289B4}" type="parTrans" cxnId="{EB052CE1-6A8B-4F37-BF69-363DC6195FD9}">
      <dgm:prSet/>
      <dgm:spPr/>
      <dgm:t>
        <a:bodyPr/>
        <a:lstStyle/>
        <a:p>
          <a:endParaRPr lang="en-US" b="1"/>
        </a:p>
      </dgm:t>
    </dgm:pt>
    <dgm:pt modelId="{D90F3694-6181-4799-B8FA-4ED2CD3AB0D7}" type="sibTrans" cxnId="{EB052CE1-6A8B-4F37-BF69-363DC6195FD9}">
      <dgm:prSet/>
      <dgm:spPr/>
      <dgm:t>
        <a:bodyPr/>
        <a:lstStyle/>
        <a:p>
          <a:endParaRPr lang="en-US" b="1"/>
        </a:p>
      </dgm:t>
    </dgm:pt>
    <dgm:pt modelId="{3C532BBB-4AD8-4266-9D77-4C2008CE6801}" type="pres">
      <dgm:prSet presAssocID="{B2933E51-C7BC-4230-A224-6F0A3FFD5970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9E0EF61-6F42-4046-A9CA-A178047DC8DE}" type="pres">
      <dgm:prSet presAssocID="{0D687938-A22F-44AB-B19B-5ABCD8BC0E3B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C4BCF5-9091-494C-A42A-42786709B825}" type="pres">
      <dgm:prSet presAssocID="{F78DD562-A5E6-41FB-9E49-204094EE7B1D}" presName="sibTrans" presStyleCnt="0"/>
      <dgm:spPr/>
    </dgm:pt>
    <dgm:pt modelId="{4D739325-3AD1-4B84-BE28-3160059CB44D}" type="pres">
      <dgm:prSet presAssocID="{5FEAB2C1-ACCF-47C0-A1F8-B57ADF146C35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A9B0A9A-8C31-471B-90DA-3D5404CD054B}" type="pres">
      <dgm:prSet presAssocID="{30FFAB23-2E93-461D-9849-704F173A7B4B}" presName="sibTrans" presStyleCnt="0"/>
      <dgm:spPr/>
    </dgm:pt>
    <dgm:pt modelId="{610F13F1-E6A2-47C1-8D45-8D423A722844}" type="pres">
      <dgm:prSet presAssocID="{B69696D2-0327-4D37-A169-FC9F10C39416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DB66A18-DBB7-4143-BF65-8E1BB2532598}" type="pres">
      <dgm:prSet presAssocID="{4A47D431-BA10-4DCA-958A-9CA81CB6455F}" presName="sibTrans" presStyleCnt="0"/>
      <dgm:spPr/>
    </dgm:pt>
    <dgm:pt modelId="{EA622EE3-6FF0-48F9-A93C-61129A2E1DA6}" type="pres">
      <dgm:prSet presAssocID="{9C77E267-D485-483B-ADCE-8AEAD300228D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817A07-C3D1-4452-AF51-E127D5E5C4EC}" type="pres">
      <dgm:prSet presAssocID="{25C8D13A-D294-4F62-80EC-6E8BC1F0329D}" presName="sibTrans" presStyleCnt="0"/>
      <dgm:spPr/>
    </dgm:pt>
    <dgm:pt modelId="{694599E6-F425-4DA0-868F-D780EA9D8D4F}" type="pres">
      <dgm:prSet presAssocID="{26BBDB6C-6711-4DD1-B0B9-94D0DD269C46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B32FD0-1BFC-402F-8DC3-266AC6848316}" type="pres">
      <dgm:prSet presAssocID="{19A1E897-0058-47DF-A6AC-39B1EFE2F3D9}" presName="sibTrans" presStyleCnt="0"/>
      <dgm:spPr/>
    </dgm:pt>
    <dgm:pt modelId="{F71CC4B8-B434-483E-94E5-C33243966A9A}" type="pres">
      <dgm:prSet presAssocID="{60111D45-3C39-4D96-8E3A-0D034D8EFE63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013F3E-F475-4CCE-ABBC-1C82347D1C96}" type="pres">
      <dgm:prSet presAssocID="{41828063-A0A9-4760-8B20-3C316D915E55}" presName="sibTrans" presStyleCnt="0"/>
      <dgm:spPr/>
    </dgm:pt>
    <dgm:pt modelId="{752D6FAA-6D6A-4EBF-8EEA-7D82B9BC77DD}" type="pres">
      <dgm:prSet presAssocID="{C920C9D2-C22C-4278-8FB5-447ADB746FA7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5319940-6ACC-410D-BC2E-1741B14304BA}" type="presOf" srcId="{26BBDB6C-6711-4DD1-B0B9-94D0DD269C46}" destId="{694599E6-F425-4DA0-868F-D780EA9D8D4F}" srcOrd="0" destOrd="0" presId="urn:microsoft.com/office/officeart/2005/8/layout/default#3"/>
    <dgm:cxn modelId="{433A1C47-07D9-481A-A161-9E1C3CF2187B}" srcId="{B2933E51-C7BC-4230-A224-6F0A3FFD5970}" destId="{26BBDB6C-6711-4DD1-B0B9-94D0DD269C46}" srcOrd="4" destOrd="0" parTransId="{10C5B285-A4A4-4FAB-BEAA-203513619F88}" sibTransId="{19A1E897-0058-47DF-A6AC-39B1EFE2F3D9}"/>
    <dgm:cxn modelId="{A77522DB-B33E-46DD-A113-BF583A3B7C20}" type="presOf" srcId="{60111D45-3C39-4D96-8E3A-0D034D8EFE63}" destId="{F71CC4B8-B434-483E-94E5-C33243966A9A}" srcOrd="0" destOrd="0" presId="urn:microsoft.com/office/officeart/2005/8/layout/default#3"/>
    <dgm:cxn modelId="{B26148F9-7A2D-454F-A6F7-CFA8A4BC986D}" type="presOf" srcId="{5FEAB2C1-ACCF-47C0-A1F8-B57ADF146C35}" destId="{4D739325-3AD1-4B84-BE28-3160059CB44D}" srcOrd="0" destOrd="0" presId="urn:microsoft.com/office/officeart/2005/8/layout/default#3"/>
    <dgm:cxn modelId="{4EC6645E-21CF-4A79-98B8-2DFC0EAA5163}" type="presOf" srcId="{B69696D2-0327-4D37-A169-FC9F10C39416}" destId="{610F13F1-E6A2-47C1-8D45-8D423A722844}" srcOrd="0" destOrd="0" presId="urn:microsoft.com/office/officeart/2005/8/layout/default#3"/>
    <dgm:cxn modelId="{5499B1B0-4992-4041-876D-A0FE2C572BB4}" type="presOf" srcId="{B2933E51-C7BC-4230-A224-6F0A3FFD5970}" destId="{3C532BBB-4AD8-4266-9D77-4C2008CE6801}" srcOrd="0" destOrd="0" presId="urn:microsoft.com/office/officeart/2005/8/layout/default#3"/>
    <dgm:cxn modelId="{EE9AD8EC-B405-479A-ADEB-51E8FEB7602C}" srcId="{B2933E51-C7BC-4230-A224-6F0A3FFD5970}" destId="{B69696D2-0327-4D37-A169-FC9F10C39416}" srcOrd="2" destOrd="0" parTransId="{4B36135F-ACDE-444E-97BA-CA1971EF266A}" sibTransId="{4A47D431-BA10-4DCA-958A-9CA81CB6455F}"/>
    <dgm:cxn modelId="{A9699A11-006A-4297-93B8-A4F5F58783A6}" type="presOf" srcId="{9C77E267-D485-483B-ADCE-8AEAD300228D}" destId="{EA622EE3-6FF0-48F9-A93C-61129A2E1DA6}" srcOrd="0" destOrd="0" presId="urn:microsoft.com/office/officeart/2005/8/layout/default#3"/>
    <dgm:cxn modelId="{9B1A8DEE-DEC5-4F48-96F8-0ABB971C78CA}" type="presOf" srcId="{C920C9D2-C22C-4278-8FB5-447ADB746FA7}" destId="{752D6FAA-6D6A-4EBF-8EEA-7D82B9BC77DD}" srcOrd="0" destOrd="0" presId="urn:microsoft.com/office/officeart/2005/8/layout/default#3"/>
    <dgm:cxn modelId="{183BA536-62BA-4BB6-AABA-CFBF6417AB91}" srcId="{B2933E51-C7BC-4230-A224-6F0A3FFD5970}" destId="{60111D45-3C39-4D96-8E3A-0D034D8EFE63}" srcOrd="5" destOrd="0" parTransId="{3CFA1D57-83C1-4C7C-BE81-A8DF65B8582A}" sibTransId="{41828063-A0A9-4760-8B20-3C316D915E55}"/>
    <dgm:cxn modelId="{C9E04468-8DDD-4663-AF63-3EDA361B7CB5}" srcId="{B2933E51-C7BC-4230-A224-6F0A3FFD5970}" destId="{0D687938-A22F-44AB-B19B-5ABCD8BC0E3B}" srcOrd="0" destOrd="0" parTransId="{50953DD4-76F3-4594-96EA-17DA733DF614}" sibTransId="{F78DD562-A5E6-41FB-9E49-204094EE7B1D}"/>
    <dgm:cxn modelId="{ABB92FC5-60D1-4B3D-B1CD-78F0BB9A7745}" srcId="{B2933E51-C7BC-4230-A224-6F0A3FFD5970}" destId="{5FEAB2C1-ACCF-47C0-A1F8-B57ADF146C35}" srcOrd="1" destOrd="0" parTransId="{4D934BE6-F2F9-41E9-991D-837A806EDB2B}" sibTransId="{30FFAB23-2E93-461D-9849-704F173A7B4B}"/>
    <dgm:cxn modelId="{8297ACD8-A53D-4C3A-8CCA-478F6BB064F1}" srcId="{B2933E51-C7BC-4230-A224-6F0A3FFD5970}" destId="{9C77E267-D485-483B-ADCE-8AEAD300228D}" srcOrd="3" destOrd="0" parTransId="{114339BE-7188-43DF-80D2-714F3D9DA5DB}" sibTransId="{25C8D13A-D294-4F62-80EC-6E8BC1F0329D}"/>
    <dgm:cxn modelId="{EB052CE1-6A8B-4F37-BF69-363DC6195FD9}" srcId="{B2933E51-C7BC-4230-A224-6F0A3FFD5970}" destId="{C920C9D2-C22C-4278-8FB5-447ADB746FA7}" srcOrd="6" destOrd="0" parTransId="{50B80F4E-1397-451B-9AF0-836C77B289B4}" sibTransId="{D90F3694-6181-4799-B8FA-4ED2CD3AB0D7}"/>
    <dgm:cxn modelId="{F1A86C07-D224-49BC-BF5B-AB86232E6A0B}" type="presOf" srcId="{0D687938-A22F-44AB-B19B-5ABCD8BC0E3B}" destId="{A9E0EF61-6F42-4046-A9CA-A178047DC8DE}" srcOrd="0" destOrd="0" presId="urn:microsoft.com/office/officeart/2005/8/layout/default#3"/>
    <dgm:cxn modelId="{006D3E46-8CFD-4CEA-880E-2E73D414822C}" type="presParOf" srcId="{3C532BBB-4AD8-4266-9D77-4C2008CE6801}" destId="{A9E0EF61-6F42-4046-A9CA-A178047DC8DE}" srcOrd="0" destOrd="0" presId="urn:microsoft.com/office/officeart/2005/8/layout/default#3"/>
    <dgm:cxn modelId="{C07893B5-5595-46DA-A7A0-CF181FFEE0BB}" type="presParOf" srcId="{3C532BBB-4AD8-4266-9D77-4C2008CE6801}" destId="{5FC4BCF5-9091-494C-A42A-42786709B825}" srcOrd="1" destOrd="0" presId="urn:microsoft.com/office/officeart/2005/8/layout/default#3"/>
    <dgm:cxn modelId="{0D2A2F3B-946F-45F8-9304-3014ADCC7ED4}" type="presParOf" srcId="{3C532BBB-4AD8-4266-9D77-4C2008CE6801}" destId="{4D739325-3AD1-4B84-BE28-3160059CB44D}" srcOrd="2" destOrd="0" presId="urn:microsoft.com/office/officeart/2005/8/layout/default#3"/>
    <dgm:cxn modelId="{C3990953-68D6-49AB-ABAB-ADB347CE8D03}" type="presParOf" srcId="{3C532BBB-4AD8-4266-9D77-4C2008CE6801}" destId="{4A9B0A9A-8C31-471B-90DA-3D5404CD054B}" srcOrd="3" destOrd="0" presId="urn:microsoft.com/office/officeart/2005/8/layout/default#3"/>
    <dgm:cxn modelId="{D16D6046-7997-4DD2-A556-43FA8C7DF873}" type="presParOf" srcId="{3C532BBB-4AD8-4266-9D77-4C2008CE6801}" destId="{610F13F1-E6A2-47C1-8D45-8D423A722844}" srcOrd="4" destOrd="0" presId="urn:microsoft.com/office/officeart/2005/8/layout/default#3"/>
    <dgm:cxn modelId="{FE00DEF0-79C7-4E6B-8CC7-B46056B13D79}" type="presParOf" srcId="{3C532BBB-4AD8-4266-9D77-4C2008CE6801}" destId="{8DB66A18-DBB7-4143-BF65-8E1BB2532598}" srcOrd="5" destOrd="0" presId="urn:microsoft.com/office/officeart/2005/8/layout/default#3"/>
    <dgm:cxn modelId="{255AA677-86A5-41C8-B2FB-2AE0DA51273A}" type="presParOf" srcId="{3C532BBB-4AD8-4266-9D77-4C2008CE6801}" destId="{EA622EE3-6FF0-48F9-A93C-61129A2E1DA6}" srcOrd="6" destOrd="0" presId="urn:microsoft.com/office/officeart/2005/8/layout/default#3"/>
    <dgm:cxn modelId="{7A63D4FD-B6E5-4E92-BC4F-56B66C186709}" type="presParOf" srcId="{3C532BBB-4AD8-4266-9D77-4C2008CE6801}" destId="{F5817A07-C3D1-4452-AF51-E127D5E5C4EC}" srcOrd="7" destOrd="0" presId="urn:microsoft.com/office/officeart/2005/8/layout/default#3"/>
    <dgm:cxn modelId="{CB0B7B0C-3A1C-4D50-8FC8-A9445F0954B6}" type="presParOf" srcId="{3C532BBB-4AD8-4266-9D77-4C2008CE6801}" destId="{694599E6-F425-4DA0-868F-D780EA9D8D4F}" srcOrd="8" destOrd="0" presId="urn:microsoft.com/office/officeart/2005/8/layout/default#3"/>
    <dgm:cxn modelId="{0FE1300D-CFC0-4439-9460-E92575E1FFAA}" type="presParOf" srcId="{3C532BBB-4AD8-4266-9D77-4C2008CE6801}" destId="{43B32FD0-1BFC-402F-8DC3-266AC6848316}" srcOrd="9" destOrd="0" presId="urn:microsoft.com/office/officeart/2005/8/layout/default#3"/>
    <dgm:cxn modelId="{19943A8E-D140-4F33-8F5F-DBDFF0319ABC}" type="presParOf" srcId="{3C532BBB-4AD8-4266-9D77-4C2008CE6801}" destId="{F71CC4B8-B434-483E-94E5-C33243966A9A}" srcOrd="10" destOrd="0" presId="urn:microsoft.com/office/officeart/2005/8/layout/default#3"/>
    <dgm:cxn modelId="{C912F5FF-AA47-4C9B-99BB-17E8920893A1}" type="presParOf" srcId="{3C532BBB-4AD8-4266-9D77-4C2008CE6801}" destId="{F7013F3E-F475-4CCE-ABBC-1C82347D1C96}" srcOrd="11" destOrd="0" presId="urn:microsoft.com/office/officeart/2005/8/layout/default#3"/>
    <dgm:cxn modelId="{1F3777B5-C5E5-40E1-9AAF-5451AE92A897}" type="presParOf" srcId="{3C532BBB-4AD8-4266-9D77-4C2008CE6801}" destId="{752D6FAA-6D6A-4EBF-8EEA-7D82B9BC77DD}" srcOrd="12" destOrd="0" presId="urn:microsoft.com/office/officeart/2005/8/layout/default#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3CDAFB1-816F-4724-A621-1416143FBE6D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E6933B32-7D4C-4031-B1D2-3BA2B374FD4F}">
      <dgm:prSet phldrT="[Text]" custT="1"/>
      <dgm:spPr/>
      <dgm:t>
        <a:bodyPr/>
        <a:lstStyle/>
        <a:p>
          <a:r>
            <a:rPr lang="en-US" sz="2000" dirty="0" smtClean="0"/>
            <a:t>This is similar to MongoDB Collection's find method and SQL's WHERE clause.</a:t>
          </a:r>
          <a:endParaRPr lang="en-US" sz="2000" dirty="0"/>
        </a:p>
      </dgm:t>
    </dgm:pt>
    <dgm:pt modelId="{71B33ECB-17DF-4999-B08A-1AD569D88F3B}" type="parTrans" cxnId="{6D7D2C82-62F1-4879-99EF-6088BB01276B}">
      <dgm:prSet/>
      <dgm:spPr/>
      <dgm:t>
        <a:bodyPr/>
        <a:lstStyle/>
        <a:p>
          <a:endParaRPr lang="en-US" sz="2000"/>
        </a:p>
      </dgm:t>
    </dgm:pt>
    <dgm:pt modelId="{99DEFCC1-D441-4C07-9FDC-23C113AC90B6}" type="sibTrans" cxnId="{6D7D2C82-62F1-4879-99EF-6088BB01276B}">
      <dgm:prSet/>
      <dgm:spPr/>
      <dgm:t>
        <a:bodyPr/>
        <a:lstStyle/>
        <a:p>
          <a:endParaRPr lang="en-US" sz="2000"/>
        </a:p>
      </dgm:t>
    </dgm:pt>
    <dgm:pt modelId="{F176E148-7C78-40DA-B9CF-569BADBEBCBE}">
      <dgm:prSet phldrT="[Text]" custT="1"/>
      <dgm:spPr/>
      <dgm:t>
        <a:bodyPr/>
        <a:lstStyle/>
        <a:p>
          <a:r>
            <a:rPr lang="en-US" sz="2000" b="1" dirty="0" smtClean="0"/>
            <a:t>Example: :</a:t>
          </a:r>
          <a:r>
            <a:rPr lang="en-US" sz="2000" dirty="0" smtClean="0"/>
            <a:t> Lets try and get the employees with female gender</a:t>
          </a:r>
          <a:endParaRPr lang="en-US" sz="2000" dirty="0"/>
        </a:p>
      </dgm:t>
    </dgm:pt>
    <dgm:pt modelId="{41CF3C80-4B49-4956-AB61-667973B957B5}" type="parTrans" cxnId="{C9B7085C-4D61-4A29-963A-31EB14CFE9CC}">
      <dgm:prSet/>
      <dgm:spPr/>
      <dgm:t>
        <a:bodyPr/>
        <a:lstStyle/>
        <a:p>
          <a:endParaRPr lang="en-US" sz="2000"/>
        </a:p>
      </dgm:t>
    </dgm:pt>
    <dgm:pt modelId="{175BBDFA-352F-4030-A622-27068F7CEADF}" type="sibTrans" cxnId="{C9B7085C-4D61-4A29-963A-31EB14CFE9CC}">
      <dgm:prSet/>
      <dgm:spPr/>
      <dgm:t>
        <a:bodyPr/>
        <a:lstStyle/>
        <a:p>
          <a:endParaRPr lang="en-US" sz="2000"/>
        </a:p>
      </dgm:t>
    </dgm:pt>
    <dgm:pt modelId="{50876633-FB05-4418-9E87-68FF7CE928BC}">
      <dgm:prSet phldrT="[Text]" custT="1"/>
      <dgm:spPr/>
      <dgm:t>
        <a:bodyPr/>
        <a:lstStyle/>
        <a:p>
          <a:r>
            <a:rPr lang="en-US" sz="2000" dirty="0" smtClean="0"/>
            <a:t>db.employees.aggregate([{ $match: {"gender": "female" }}]);</a:t>
          </a:r>
          <a:endParaRPr lang="en-US" sz="2000" dirty="0"/>
        </a:p>
      </dgm:t>
    </dgm:pt>
    <dgm:pt modelId="{DB56A4A9-6F15-4DE8-868A-3B99A1540B23}" type="parTrans" cxnId="{3F70FF07-3F20-417C-A59A-4F7579CC6583}">
      <dgm:prSet/>
      <dgm:spPr/>
      <dgm:t>
        <a:bodyPr/>
        <a:lstStyle/>
        <a:p>
          <a:endParaRPr lang="en-US" sz="2000"/>
        </a:p>
      </dgm:t>
    </dgm:pt>
    <dgm:pt modelId="{0C707B9C-C242-4618-AE9C-70229CAF3AD6}" type="sibTrans" cxnId="{3F70FF07-3F20-417C-A59A-4F7579CC6583}">
      <dgm:prSet/>
      <dgm:spPr/>
      <dgm:t>
        <a:bodyPr/>
        <a:lstStyle/>
        <a:p>
          <a:endParaRPr lang="en-US" sz="2000"/>
        </a:p>
      </dgm:t>
    </dgm:pt>
    <dgm:pt modelId="{5671D338-1D19-4B17-906D-E7819540AAF9}" type="pres">
      <dgm:prSet presAssocID="{03CDAFB1-816F-4724-A621-1416143FBE6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DFDAF49-E766-46DD-A470-DBCE277A14A8}" type="pres">
      <dgm:prSet presAssocID="{E6933B32-7D4C-4031-B1D2-3BA2B374FD4F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A755B0-4F18-497A-B7AF-A70853B6B7D0}" type="pres">
      <dgm:prSet presAssocID="{99DEFCC1-D441-4C07-9FDC-23C113AC90B6}" presName="spacer" presStyleCnt="0"/>
      <dgm:spPr/>
    </dgm:pt>
    <dgm:pt modelId="{5E5AA727-30E0-4B23-8C99-9180AE380801}" type="pres">
      <dgm:prSet presAssocID="{F176E148-7C78-40DA-B9CF-569BADBEBCBE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1787A3-70DD-4AF4-B5EA-3AB8BBD1A027}" type="pres">
      <dgm:prSet presAssocID="{F176E148-7C78-40DA-B9CF-569BADBEBCBE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9B7085C-4D61-4A29-963A-31EB14CFE9CC}" srcId="{03CDAFB1-816F-4724-A621-1416143FBE6D}" destId="{F176E148-7C78-40DA-B9CF-569BADBEBCBE}" srcOrd="1" destOrd="0" parTransId="{41CF3C80-4B49-4956-AB61-667973B957B5}" sibTransId="{175BBDFA-352F-4030-A622-27068F7CEADF}"/>
    <dgm:cxn modelId="{9C301C21-1311-4381-83AF-B54DCF5E6E0A}" type="presOf" srcId="{03CDAFB1-816F-4724-A621-1416143FBE6D}" destId="{5671D338-1D19-4B17-906D-E7819540AAF9}" srcOrd="0" destOrd="0" presId="urn:microsoft.com/office/officeart/2005/8/layout/vList2"/>
    <dgm:cxn modelId="{3F70FF07-3F20-417C-A59A-4F7579CC6583}" srcId="{F176E148-7C78-40DA-B9CF-569BADBEBCBE}" destId="{50876633-FB05-4418-9E87-68FF7CE928BC}" srcOrd="0" destOrd="0" parTransId="{DB56A4A9-6F15-4DE8-868A-3B99A1540B23}" sibTransId="{0C707B9C-C242-4618-AE9C-70229CAF3AD6}"/>
    <dgm:cxn modelId="{EF522C88-7219-468B-AB57-7617DFD4AC6C}" type="presOf" srcId="{E6933B32-7D4C-4031-B1D2-3BA2B374FD4F}" destId="{DDFDAF49-E766-46DD-A470-DBCE277A14A8}" srcOrd="0" destOrd="0" presId="urn:microsoft.com/office/officeart/2005/8/layout/vList2"/>
    <dgm:cxn modelId="{38D0A7DA-5775-480E-9B41-EEF2F7F68ECF}" type="presOf" srcId="{F176E148-7C78-40DA-B9CF-569BADBEBCBE}" destId="{5E5AA727-30E0-4B23-8C99-9180AE380801}" srcOrd="0" destOrd="0" presId="urn:microsoft.com/office/officeart/2005/8/layout/vList2"/>
    <dgm:cxn modelId="{F63D7B33-1A06-4E65-95D9-5A09655A8208}" type="presOf" srcId="{50876633-FB05-4418-9E87-68FF7CE928BC}" destId="{DF1787A3-70DD-4AF4-B5EA-3AB8BBD1A027}" srcOrd="0" destOrd="0" presId="urn:microsoft.com/office/officeart/2005/8/layout/vList2"/>
    <dgm:cxn modelId="{6D7D2C82-62F1-4879-99EF-6088BB01276B}" srcId="{03CDAFB1-816F-4724-A621-1416143FBE6D}" destId="{E6933B32-7D4C-4031-B1D2-3BA2B374FD4F}" srcOrd="0" destOrd="0" parTransId="{71B33ECB-17DF-4999-B08A-1AD569D88F3B}" sibTransId="{99DEFCC1-D441-4C07-9FDC-23C113AC90B6}"/>
    <dgm:cxn modelId="{8E51314A-9A2A-4A7D-80FF-F6032A2E9731}" type="presParOf" srcId="{5671D338-1D19-4B17-906D-E7819540AAF9}" destId="{DDFDAF49-E766-46DD-A470-DBCE277A14A8}" srcOrd="0" destOrd="0" presId="urn:microsoft.com/office/officeart/2005/8/layout/vList2"/>
    <dgm:cxn modelId="{F2C1508B-70F8-487C-8A93-E367558F3E09}" type="presParOf" srcId="{5671D338-1D19-4B17-906D-E7819540AAF9}" destId="{65A755B0-4F18-497A-B7AF-A70853B6B7D0}" srcOrd="1" destOrd="0" presId="urn:microsoft.com/office/officeart/2005/8/layout/vList2"/>
    <dgm:cxn modelId="{631A0793-5A38-455A-AAD7-3E2F504A9818}" type="presParOf" srcId="{5671D338-1D19-4B17-906D-E7819540AAF9}" destId="{5E5AA727-30E0-4B23-8C99-9180AE380801}" srcOrd="2" destOrd="0" presId="urn:microsoft.com/office/officeart/2005/8/layout/vList2"/>
    <dgm:cxn modelId="{6B4F31D5-4A7A-491F-B08A-58A9BC45BA08}" type="presParOf" srcId="{5671D338-1D19-4B17-906D-E7819540AAF9}" destId="{DF1787A3-70DD-4AF4-B5EA-3AB8BBD1A027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543D22B-0E81-4D45-B336-04D0041C1AD0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A80EF04A-AD2B-47AA-9AB8-55678EA238E1}">
      <dgm:prSet phldrT="[Text]" custT="1"/>
      <dgm:spPr/>
      <dgm:t>
        <a:bodyPr/>
        <a:lstStyle/>
        <a:p>
          <a:r>
            <a:rPr lang="en-US" sz="2200" dirty="0" smtClean="0"/>
            <a:t>This </a:t>
          </a:r>
          <a:r>
            <a:rPr lang="en-US" sz="2000" dirty="0" smtClean="0"/>
            <a:t>will</a:t>
          </a:r>
          <a:r>
            <a:rPr lang="en-US" sz="2200" dirty="0" smtClean="0"/>
            <a:t> be very useful when the data is stored as list. </a:t>
          </a:r>
          <a:endParaRPr lang="en-US" sz="2200" dirty="0"/>
        </a:p>
      </dgm:t>
    </dgm:pt>
    <dgm:pt modelId="{C23E192F-9417-45D0-9F42-C272489E80D4}" type="parTrans" cxnId="{9E2F0497-CA33-4DBA-9B90-DD1DFA25B1C6}">
      <dgm:prSet/>
      <dgm:spPr/>
      <dgm:t>
        <a:bodyPr/>
        <a:lstStyle/>
        <a:p>
          <a:endParaRPr lang="en-US"/>
        </a:p>
      </dgm:t>
    </dgm:pt>
    <dgm:pt modelId="{F7C5BCFC-F73D-4419-8489-2A769E8F6A2C}" type="sibTrans" cxnId="{9E2F0497-CA33-4DBA-9B90-DD1DFA25B1C6}">
      <dgm:prSet/>
      <dgm:spPr/>
      <dgm:t>
        <a:bodyPr/>
        <a:lstStyle/>
        <a:p>
          <a:endParaRPr lang="en-US"/>
        </a:p>
      </dgm:t>
    </dgm:pt>
    <dgm:pt modelId="{7A258A38-779C-473F-8F8A-471F54782F04}">
      <dgm:prSet phldrT="[Text]"/>
      <dgm:spPr/>
      <dgm:t>
        <a:bodyPr/>
        <a:lstStyle/>
        <a:p>
          <a:r>
            <a:rPr lang="en-US" dirty="0" smtClean="0"/>
            <a:t>When the unwind operator is applied on a list data field, it will generate a new record for each and every element of  the list data field on which unwind is applied. </a:t>
          </a:r>
          <a:endParaRPr lang="en-US" dirty="0"/>
        </a:p>
      </dgm:t>
    </dgm:pt>
    <dgm:pt modelId="{84D77D47-7EF9-479F-8C97-D24C0677BA23}" type="parTrans" cxnId="{88C3396F-99CB-405B-B613-D6E0429F0098}">
      <dgm:prSet/>
      <dgm:spPr/>
      <dgm:t>
        <a:bodyPr/>
        <a:lstStyle/>
        <a:p>
          <a:endParaRPr lang="en-US"/>
        </a:p>
      </dgm:t>
    </dgm:pt>
    <dgm:pt modelId="{DDE81DD6-2995-4063-A6C4-D93654FC8424}" type="sibTrans" cxnId="{88C3396F-99CB-405B-B613-D6E0429F0098}">
      <dgm:prSet/>
      <dgm:spPr/>
      <dgm:t>
        <a:bodyPr/>
        <a:lstStyle/>
        <a:p>
          <a:endParaRPr lang="en-US"/>
        </a:p>
      </dgm:t>
    </dgm:pt>
    <dgm:pt modelId="{1AFD0C55-3F87-4DE3-8D27-77770F66AC5C}">
      <dgm:prSet phldrT="[Text]"/>
      <dgm:spPr/>
      <dgm:t>
        <a:bodyPr/>
        <a:lstStyle/>
        <a:p>
          <a:r>
            <a:rPr lang="en-US" dirty="0" smtClean="0"/>
            <a:t>It basically flattens the data.</a:t>
          </a:r>
          <a:endParaRPr lang="en-US" dirty="0"/>
        </a:p>
      </dgm:t>
    </dgm:pt>
    <dgm:pt modelId="{12976DB5-1108-46C5-A425-D5A637386A7A}" type="parTrans" cxnId="{76F73F7A-2D0B-4EA2-AABD-DE5D0B9E5289}">
      <dgm:prSet/>
      <dgm:spPr/>
      <dgm:t>
        <a:bodyPr/>
        <a:lstStyle/>
        <a:p>
          <a:endParaRPr lang="en-US"/>
        </a:p>
      </dgm:t>
    </dgm:pt>
    <dgm:pt modelId="{BB038275-B12F-421A-BF2C-D4FCF84A830F}" type="sibTrans" cxnId="{76F73F7A-2D0B-4EA2-AABD-DE5D0B9E5289}">
      <dgm:prSet/>
      <dgm:spPr/>
      <dgm:t>
        <a:bodyPr/>
        <a:lstStyle/>
        <a:p>
          <a:endParaRPr lang="en-US"/>
        </a:p>
      </dgm:t>
    </dgm:pt>
    <dgm:pt modelId="{72309BB7-CC0A-4C5E-B8C1-4574EF60B0F2}" type="pres">
      <dgm:prSet presAssocID="{9543D22B-0E81-4D45-B336-04D0041C1AD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D39202E-431B-437F-8EFC-A1004BD6B698}" type="pres">
      <dgm:prSet presAssocID="{A80EF04A-AD2B-47AA-9AB8-55678EA238E1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585D87E-794E-4AB3-A123-07F1B7680154}" type="pres">
      <dgm:prSet presAssocID="{F7C5BCFC-F73D-4419-8489-2A769E8F6A2C}" presName="spacer" presStyleCnt="0"/>
      <dgm:spPr/>
    </dgm:pt>
    <dgm:pt modelId="{D407C6B8-5C60-4587-94F1-C385CA88E18E}" type="pres">
      <dgm:prSet presAssocID="{7A258A38-779C-473F-8F8A-471F54782F04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769FC8-008E-4634-B9F8-FC98960D1659}" type="pres">
      <dgm:prSet presAssocID="{DDE81DD6-2995-4063-A6C4-D93654FC8424}" presName="spacer" presStyleCnt="0"/>
      <dgm:spPr/>
    </dgm:pt>
    <dgm:pt modelId="{5366FDB3-EF8A-451B-9A85-E623D436AB81}" type="pres">
      <dgm:prSet presAssocID="{1AFD0C55-3F87-4DE3-8D27-77770F66AC5C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4DBBCE3-0EC4-4097-B1F4-9903E9799C45}" type="presOf" srcId="{7A258A38-779C-473F-8F8A-471F54782F04}" destId="{D407C6B8-5C60-4587-94F1-C385CA88E18E}" srcOrd="0" destOrd="0" presId="urn:microsoft.com/office/officeart/2005/8/layout/vList2"/>
    <dgm:cxn modelId="{9E2F0497-CA33-4DBA-9B90-DD1DFA25B1C6}" srcId="{9543D22B-0E81-4D45-B336-04D0041C1AD0}" destId="{A80EF04A-AD2B-47AA-9AB8-55678EA238E1}" srcOrd="0" destOrd="0" parTransId="{C23E192F-9417-45D0-9F42-C272489E80D4}" sibTransId="{F7C5BCFC-F73D-4419-8489-2A769E8F6A2C}"/>
    <dgm:cxn modelId="{360BA963-9791-49CB-BAA9-104C1CCA497C}" type="presOf" srcId="{9543D22B-0E81-4D45-B336-04D0041C1AD0}" destId="{72309BB7-CC0A-4C5E-B8C1-4574EF60B0F2}" srcOrd="0" destOrd="0" presId="urn:microsoft.com/office/officeart/2005/8/layout/vList2"/>
    <dgm:cxn modelId="{048A9FEA-DE99-4320-BFA0-C626AF223985}" type="presOf" srcId="{1AFD0C55-3F87-4DE3-8D27-77770F66AC5C}" destId="{5366FDB3-EF8A-451B-9A85-E623D436AB81}" srcOrd="0" destOrd="0" presId="urn:microsoft.com/office/officeart/2005/8/layout/vList2"/>
    <dgm:cxn modelId="{FD362949-3191-4FC2-B353-1AA1C4FD3999}" type="presOf" srcId="{A80EF04A-AD2B-47AA-9AB8-55678EA238E1}" destId="{2D39202E-431B-437F-8EFC-A1004BD6B698}" srcOrd="0" destOrd="0" presId="urn:microsoft.com/office/officeart/2005/8/layout/vList2"/>
    <dgm:cxn modelId="{76F73F7A-2D0B-4EA2-AABD-DE5D0B9E5289}" srcId="{9543D22B-0E81-4D45-B336-04D0041C1AD0}" destId="{1AFD0C55-3F87-4DE3-8D27-77770F66AC5C}" srcOrd="2" destOrd="0" parTransId="{12976DB5-1108-46C5-A425-D5A637386A7A}" sibTransId="{BB038275-B12F-421A-BF2C-D4FCF84A830F}"/>
    <dgm:cxn modelId="{88C3396F-99CB-405B-B613-D6E0429F0098}" srcId="{9543D22B-0E81-4D45-B336-04D0041C1AD0}" destId="{7A258A38-779C-473F-8F8A-471F54782F04}" srcOrd="1" destOrd="0" parTransId="{84D77D47-7EF9-479F-8C97-D24C0677BA23}" sibTransId="{DDE81DD6-2995-4063-A6C4-D93654FC8424}"/>
    <dgm:cxn modelId="{1E1D6E45-AE28-4CAA-A01C-852330FC843A}" type="presParOf" srcId="{72309BB7-CC0A-4C5E-B8C1-4574EF60B0F2}" destId="{2D39202E-431B-437F-8EFC-A1004BD6B698}" srcOrd="0" destOrd="0" presId="urn:microsoft.com/office/officeart/2005/8/layout/vList2"/>
    <dgm:cxn modelId="{764EF886-01CE-4C19-81CB-B83D49A597B4}" type="presParOf" srcId="{72309BB7-CC0A-4C5E-B8C1-4574EF60B0F2}" destId="{B585D87E-794E-4AB3-A123-07F1B7680154}" srcOrd="1" destOrd="0" presId="urn:microsoft.com/office/officeart/2005/8/layout/vList2"/>
    <dgm:cxn modelId="{07EE191E-C2B0-4D7B-9241-CF229C6EB2F0}" type="presParOf" srcId="{72309BB7-CC0A-4C5E-B8C1-4574EF60B0F2}" destId="{D407C6B8-5C60-4587-94F1-C385CA88E18E}" srcOrd="2" destOrd="0" presId="urn:microsoft.com/office/officeart/2005/8/layout/vList2"/>
    <dgm:cxn modelId="{D8B9A474-B2D3-4219-B7CC-314290A61603}" type="presParOf" srcId="{72309BB7-CC0A-4C5E-B8C1-4574EF60B0F2}" destId="{C7769FC8-008E-4634-B9F8-FC98960D1659}" srcOrd="3" destOrd="0" presId="urn:microsoft.com/office/officeart/2005/8/layout/vList2"/>
    <dgm:cxn modelId="{A36237A1-C54E-4D6B-A4B7-CDE19540BEA7}" type="presParOf" srcId="{72309BB7-CC0A-4C5E-B8C1-4574EF60B0F2}" destId="{5366FDB3-EF8A-451B-9A85-E623D436AB81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6256181-DBFD-4448-8546-644D3CB3980E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E487309A-4953-498B-8B32-5273B60C1CBF}">
      <dgm:prSet phldrT="[Text]" custT="1"/>
      <dgm:spPr/>
      <dgm:t>
        <a:bodyPr/>
        <a:lstStyle/>
        <a:p>
          <a:r>
            <a:rPr lang="en-US" sz="2000" dirty="0" smtClean="0"/>
            <a:t>Separate Contacts of employees</a:t>
          </a:r>
        </a:p>
        <a:p>
          <a:r>
            <a:rPr lang="en-US" sz="2000" dirty="0" smtClean="0"/>
            <a:t>db.employees.aggregate( [ { $unwind : "$contacts" } ] ).pretty()</a:t>
          </a:r>
          <a:endParaRPr lang="en-US" sz="2000" dirty="0"/>
        </a:p>
      </dgm:t>
    </dgm:pt>
    <dgm:pt modelId="{42C189FA-C40F-41CF-A71F-952CE533846C}" type="parTrans" cxnId="{48DB5E40-63F2-4FB7-A448-58920962328B}">
      <dgm:prSet/>
      <dgm:spPr/>
      <dgm:t>
        <a:bodyPr/>
        <a:lstStyle/>
        <a:p>
          <a:endParaRPr lang="en-US" sz="2000"/>
        </a:p>
      </dgm:t>
    </dgm:pt>
    <dgm:pt modelId="{AFF55242-D855-43E0-8BCD-0E08F2D8CFD4}" type="sibTrans" cxnId="{48DB5E40-63F2-4FB7-A448-58920962328B}">
      <dgm:prSet/>
      <dgm:spPr/>
      <dgm:t>
        <a:bodyPr/>
        <a:lstStyle/>
        <a:p>
          <a:endParaRPr lang="en-US" sz="2000"/>
        </a:p>
      </dgm:t>
    </dgm:pt>
    <dgm:pt modelId="{E277931D-1EF5-4980-A113-F84A9DE783A0}" type="pres">
      <dgm:prSet presAssocID="{C6256181-DBFD-4448-8546-644D3CB3980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FFBF25B-F028-4339-8CC0-D62FCED33747}" type="pres">
      <dgm:prSet presAssocID="{E487309A-4953-498B-8B32-5273B60C1CBF}" presName="parentText" presStyleLbl="node1" presStyleIdx="0" presStyleCnt="1" custScaleY="214780" custLinFactY="-10737" custLinFactNeighborX="346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11E6139-D84D-4E7D-ABD2-47F199356282}" type="presOf" srcId="{E487309A-4953-498B-8B32-5273B60C1CBF}" destId="{1FFBF25B-F028-4339-8CC0-D62FCED33747}" srcOrd="0" destOrd="0" presId="urn:microsoft.com/office/officeart/2005/8/layout/vList2"/>
    <dgm:cxn modelId="{F37E82A9-5BC2-4A12-81C5-211D754AAC98}" type="presOf" srcId="{C6256181-DBFD-4448-8546-644D3CB3980E}" destId="{E277931D-1EF5-4980-A113-F84A9DE783A0}" srcOrd="0" destOrd="0" presId="urn:microsoft.com/office/officeart/2005/8/layout/vList2"/>
    <dgm:cxn modelId="{48DB5E40-63F2-4FB7-A448-58920962328B}" srcId="{C6256181-DBFD-4448-8546-644D3CB3980E}" destId="{E487309A-4953-498B-8B32-5273B60C1CBF}" srcOrd="0" destOrd="0" parTransId="{42C189FA-C40F-41CF-A71F-952CE533846C}" sibTransId="{AFF55242-D855-43E0-8BCD-0E08F2D8CFD4}"/>
    <dgm:cxn modelId="{33C21109-F14F-4E1B-AF09-831C26A19146}" type="presParOf" srcId="{E277931D-1EF5-4980-A113-F84A9DE783A0}" destId="{1FFBF25B-F028-4339-8CC0-D62FCED33747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58E87-4E91-4915-9618-C77C66F3A2A8}">
      <dsp:nvSpPr>
        <dsp:cNvPr id="0" name=""/>
        <dsp:cNvSpPr/>
      </dsp:nvSpPr>
      <dsp:spPr>
        <a:xfrm>
          <a:off x="0" y="535"/>
          <a:ext cx="6488286" cy="134519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Aggregations operations process data records and return computed results. </a:t>
          </a:r>
          <a:endParaRPr lang="en-US" sz="2000" kern="1200" dirty="0"/>
        </a:p>
      </dsp:txBody>
      <dsp:txXfrm>
        <a:off x="65667" y="66202"/>
        <a:ext cx="6356952" cy="1213863"/>
      </dsp:txXfrm>
    </dsp:sp>
    <dsp:sp modelId="{7A6B054F-6C23-4A3F-A1FF-A212EE42C999}">
      <dsp:nvSpPr>
        <dsp:cNvPr id="0" name=""/>
        <dsp:cNvSpPr/>
      </dsp:nvSpPr>
      <dsp:spPr>
        <a:xfrm>
          <a:off x="0" y="1359401"/>
          <a:ext cx="6488286" cy="134519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Aggregation operations group values from multiple documents together, and can perform a variety of operations on the grouped data to return a single result.</a:t>
          </a:r>
          <a:endParaRPr lang="en-US" sz="2000" kern="1200" dirty="0"/>
        </a:p>
      </dsp:txBody>
      <dsp:txXfrm>
        <a:off x="65667" y="1425068"/>
        <a:ext cx="6356952" cy="1213863"/>
      </dsp:txXfrm>
    </dsp:sp>
    <dsp:sp modelId="{0D467D8F-D034-4388-86B5-AE2B3A1C2D0C}">
      <dsp:nvSpPr>
        <dsp:cNvPr id="0" name=""/>
        <dsp:cNvSpPr/>
      </dsp:nvSpPr>
      <dsp:spPr>
        <a:xfrm>
          <a:off x="0" y="2718267"/>
          <a:ext cx="6488286" cy="134519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In sql count(*) and with group by is an equivalent of mongodb aggregation.</a:t>
          </a:r>
          <a:endParaRPr lang="en-US" sz="2000" kern="1200" dirty="0"/>
        </a:p>
      </dsp:txBody>
      <dsp:txXfrm>
        <a:off x="65667" y="2783934"/>
        <a:ext cx="6356952" cy="121386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8AD1B7-3635-4C3B-9773-A4D5D4A3E4E1}">
      <dsp:nvSpPr>
        <dsp:cNvPr id="0" name=""/>
        <dsp:cNvSpPr/>
      </dsp:nvSpPr>
      <dsp:spPr>
        <a:xfrm>
          <a:off x="0" y="183399"/>
          <a:ext cx="7920758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e group pipeline operator is similar to the SQL's GROUP BY clause.</a:t>
          </a:r>
          <a:endParaRPr lang="en-US" sz="2000" kern="1200" dirty="0"/>
        </a:p>
      </dsp:txBody>
      <dsp:txXfrm>
        <a:off x="59399" y="242798"/>
        <a:ext cx="7801960" cy="1098002"/>
      </dsp:txXfrm>
    </dsp:sp>
    <dsp:sp modelId="{77136BD6-F444-4D32-A3D1-7CF2C926057E}">
      <dsp:nvSpPr>
        <dsp:cNvPr id="0" name=""/>
        <dsp:cNvSpPr/>
      </dsp:nvSpPr>
      <dsp:spPr>
        <a:xfrm>
          <a:off x="0" y="1587399"/>
          <a:ext cx="7920758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Example:</a:t>
          </a:r>
          <a:r>
            <a:rPr lang="en-US" sz="2000" kern="1200" dirty="0" smtClean="0"/>
            <a:t> Show Count Of Male and Female from employees	 collections</a:t>
          </a:r>
          <a:endParaRPr lang="en-US" sz="2000" kern="1200" dirty="0"/>
        </a:p>
      </dsp:txBody>
      <dsp:txXfrm>
        <a:off x="59399" y="1646798"/>
        <a:ext cx="7801960" cy="1098002"/>
      </dsp:txXfrm>
    </dsp:sp>
    <dsp:sp modelId="{63C2D8D9-F710-41C0-B9CB-EEA4B0C53601}">
      <dsp:nvSpPr>
        <dsp:cNvPr id="0" name=""/>
        <dsp:cNvSpPr/>
      </dsp:nvSpPr>
      <dsp:spPr>
        <a:xfrm>
          <a:off x="0" y="2804200"/>
          <a:ext cx="7920758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1484" tIns="45720" rIns="256032" bIns="45720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kern="1200" dirty="0" smtClean="0"/>
            <a:t>-&gt;db.employees.aggregate([{$group : {_id : "$gender", NoOfEmp : {$sum : 1}}}])</a:t>
          </a:r>
          <a:endParaRPr lang="en-US" sz="2000" kern="1200" dirty="0"/>
        </a:p>
      </dsp:txBody>
      <dsp:txXfrm>
        <a:off x="0" y="2804200"/>
        <a:ext cx="7920758" cy="107640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18CEA8-B717-47DB-B740-4F04B92826F8}">
      <dsp:nvSpPr>
        <dsp:cNvPr id="0" name=""/>
        <dsp:cNvSpPr/>
      </dsp:nvSpPr>
      <dsp:spPr>
        <a:xfrm>
          <a:off x="0" y="19599"/>
          <a:ext cx="7309542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In this aggregation example, we have specified an _id element .</a:t>
          </a:r>
          <a:endParaRPr lang="en-US" sz="2000" kern="1200" dirty="0"/>
        </a:p>
      </dsp:txBody>
      <dsp:txXfrm>
        <a:off x="59399" y="78998"/>
        <a:ext cx="7190744" cy="1098002"/>
      </dsp:txXfrm>
    </dsp:sp>
    <dsp:sp modelId="{BB997FDB-09CA-4033-93AE-A9F468F093BB}">
      <dsp:nvSpPr>
        <dsp:cNvPr id="0" name=""/>
        <dsp:cNvSpPr/>
      </dsp:nvSpPr>
      <dsp:spPr>
        <a:xfrm>
          <a:off x="0" y="1423600"/>
          <a:ext cx="7309542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e _id element tells MongoDB to group the documents based on gender field.</a:t>
          </a:r>
          <a:endParaRPr lang="en-US" sz="2000" kern="1200" dirty="0"/>
        </a:p>
      </dsp:txBody>
      <dsp:txXfrm>
        <a:off x="59399" y="1482999"/>
        <a:ext cx="7190744" cy="1098002"/>
      </dsp:txXfrm>
    </dsp:sp>
    <dsp:sp modelId="{42F7F6CF-E5F0-4207-9CCD-A2E104F50750}">
      <dsp:nvSpPr>
        <dsp:cNvPr id="0" name=""/>
        <dsp:cNvSpPr/>
      </dsp:nvSpPr>
      <dsp:spPr>
        <a:xfrm>
          <a:off x="0" y="2827600"/>
          <a:ext cx="7309542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e NoOfEmp uses an aggregation function </a:t>
          </a:r>
          <a:r>
            <a:rPr lang="en-US" sz="2000" b="1" kern="1200" dirty="0" smtClean="0"/>
            <a:t>$sum</a:t>
          </a:r>
          <a:r>
            <a:rPr lang="en-US" sz="2000" kern="1200" dirty="0" smtClean="0"/>
            <a:t>, which basically counts up both  gender and returns the sum.</a:t>
          </a:r>
          <a:endParaRPr lang="en-US" sz="2000" kern="1200" dirty="0"/>
        </a:p>
      </dsp:txBody>
      <dsp:txXfrm>
        <a:off x="59399" y="2886999"/>
        <a:ext cx="7190744" cy="109800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8A6EC7-1520-4C1D-A622-77DCEC54F079}">
      <dsp:nvSpPr>
        <dsp:cNvPr id="0" name=""/>
        <dsp:cNvSpPr/>
      </dsp:nvSpPr>
      <dsp:spPr>
        <a:xfrm>
          <a:off x="0" y="19599"/>
          <a:ext cx="7012621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e project operator is similar to SELECT in SQL. </a:t>
          </a:r>
          <a:endParaRPr lang="en-US" sz="2000" kern="1200" dirty="0">
            <a:latin typeface="+mn-lt"/>
          </a:endParaRPr>
        </a:p>
      </dsp:txBody>
      <dsp:txXfrm>
        <a:off x="59399" y="78998"/>
        <a:ext cx="6893823" cy="1098002"/>
      </dsp:txXfrm>
    </dsp:sp>
    <dsp:sp modelId="{716E9F68-5A50-46ED-8724-1A8E173ECDB1}">
      <dsp:nvSpPr>
        <dsp:cNvPr id="0" name=""/>
        <dsp:cNvSpPr/>
      </dsp:nvSpPr>
      <dsp:spPr>
        <a:xfrm>
          <a:off x="0" y="1423600"/>
          <a:ext cx="7012621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We can use this to rename the field names and select / deselect the fields to be returned, out of the grouped fields. </a:t>
          </a:r>
          <a:endParaRPr lang="en-US" sz="2000" kern="1200" dirty="0">
            <a:latin typeface="+mn-lt"/>
          </a:endParaRPr>
        </a:p>
      </dsp:txBody>
      <dsp:txXfrm>
        <a:off x="59399" y="1482999"/>
        <a:ext cx="6893823" cy="1098002"/>
      </dsp:txXfrm>
    </dsp:sp>
    <dsp:sp modelId="{B858C712-57D3-4D28-B03C-FC13C6821EE5}">
      <dsp:nvSpPr>
        <dsp:cNvPr id="0" name=""/>
        <dsp:cNvSpPr/>
      </dsp:nvSpPr>
      <dsp:spPr>
        <a:xfrm>
          <a:off x="0" y="2827600"/>
          <a:ext cx="7012621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If we specify 0 for a field, it will NOT be sent in the pipeline to the next operator.</a:t>
          </a:r>
          <a:endParaRPr lang="en-US" sz="2000" kern="1200" dirty="0">
            <a:latin typeface="+mn-lt"/>
          </a:endParaRPr>
        </a:p>
      </dsp:txBody>
      <dsp:txXfrm>
        <a:off x="59399" y="2886999"/>
        <a:ext cx="6893823" cy="1098002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CA16B6-2C3C-43F4-BCC4-C0938AA6264B}">
      <dsp:nvSpPr>
        <dsp:cNvPr id="0" name=""/>
        <dsp:cNvSpPr/>
      </dsp:nvSpPr>
      <dsp:spPr>
        <a:xfrm>
          <a:off x="0" y="398025"/>
          <a:ext cx="7297595" cy="157832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is is similar to SQL's ORDER BY clause. To sort a particular field in descending order specify -1 and specify 1 if that field has to be sorted in ascending order.</a:t>
          </a:r>
          <a:endParaRPr lang="en-US" sz="2000" kern="1200" dirty="0">
            <a:latin typeface="+mn-lt"/>
          </a:endParaRPr>
        </a:p>
      </dsp:txBody>
      <dsp:txXfrm>
        <a:off x="77047" y="475072"/>
        <a:ext cx="7143501" cy="1424228"/>
      </dsp:txXfrm>
    </dsp:sp>
    <dsp:sp modelId="{33C24A93-02E9-4B3B-A4AD-3E0E91E32B38}">
      <dsp:nvSpPr>
        <dsp:cNvPr id="0" name=""/>
        <dsp:cNvSpPr/>
      </dsp:nvSpPr>
      <dsp:spPr>
        <a:xfrm>
          <a:off x="0" y="2589679"/>
          <a:ext cx="7297595" cy="7858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1699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Convert lastname  in Uppercase and sort in ascending order</a:t>
          </a:r>
          <a:endParaRPr lang="en-US" sz="2000" b="1" kern="1200" dirty="0">
            <a:latin typeface="+mn-lt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600" kern="1200" dirty="0" smtClean="0"/>
            <a:t>&gt;db.employees.aggregate([{ $project:{lname:{$toUpper:"$lastname"},_id:0}},{$sort:{lname:1}}])	</a:t>
          </a:r>
          <a:endParaRPr lang="en-US" sz="1600" kern="1200" dirty="0"/>
        </a:p>
      </dsp:txBody>
      <dsp:txXfrm>
        <a:off x="0" y="2589679"/>
        <a:ext cx="7297595" cy="785831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70625D-500C-4823-8A72-C3C8472C1418}">
      <dsp:nvSpPr>
        <dsp:cNvPr id="0" name=""/>
        <dsp:cNvSpPr/>
      </dsp:nvSpPr>
      <dsp:spPr>
        <a:xfrm>
          <a:off x="0" y="776720"/>
          <a:ext cx="7664121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ese two operators can be used to limit the number of documents being returned. They will be more useful when we need pagination support.</a:t>
          </a:r>
          <a:endParaRPr lang="en-US" sz="2000" b="0" kern="1200" dirty="0"/>
        </a:p>
      </dsp:txBody>
      <dsp:txXfrm>
        <a:off x="59399" y="836119"/>
        <a:ext cx="7545323" cy="1098002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4AB66C-9B0A-4F1E-9777-9062BA1967C6}">
      <dsp:nvSpPr>
        <dsp:cNvPr id="0" name=""/>
        <dsp:cNvSpPr/>
      </dsp:nvSpPr>
      <dsp:spPr>
        <a:xfrm>
          <a:off x="0" y="227274"/>
          <a:ext cx="6349057" cy="17111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Returns the value that results from applying an expression to the first document in a group of documents that share the same group by key. Only meaningful when documents are in a defined order. </a:t>
          </a:r>
          <a:endParaRPr lang="en-US" sz="2000" kern="1200" dirty="0"/>
        </a:p>
      </dsp:txBody>
      <dsp:txXfrm>
        <a:off x="83530" y="310804"/>
        <a:ext cx="6181997" cy="1544065"/>
      </dsp:txXfrm>
    </dsp:sp>
    <dsp:sp modelId="{FB556C4C-11A7-40CB-82B6-C34E6E41A825}">
      <dsp:nvSpPr>
        <dsp:cNvPr id="0" name=""/>
        <dsp:cNvSpPr/>
      </dsp:nvSpPr>
      <dsp:spPr>
        <a:xfrm>
          <a:off x="0" y="2125600"/>
          <a:ext cx="6349057" cy="17111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$first is only available in the </a:t>
          </a:r>
          <a:r>
            <a:rPr lang="en-US" sz="2000" b="1" kern="1200" dirty="0" smtClean="0"/>
            <a:t>$group </a:t>
          </a:r>
          <a:r>
            <a:rPr lang="en-US" sz="2000" kern="1200" dirty="0" smtClean="0"/>
            <a:t>stage.</a:t>
          </a:r>
          <a:endParaRPr lang="en-US" sz="2000" kern="1200" dirty="0"/>
        </a:p>
      </dsp:txBody>
      <dsp:txXfrm>
        <a:off x="83530" y="2209130"/>
        <a:ext cx="6181997" cy="1544065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056495-D3DA-4434-AF8B-972CEDA597F2}">
      <dsp:nvSpPr>
        <dsp:cNvPr id="0" name=""/>
        <dsp:cNvSpPr/>
      </dsp:nvSpPr>
      <dsp:spPr>
        <a:xfrm>
          <a:off x="0" y="721599"/>
          <a:ext cx="6669218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Grouping the documents by the item field, the following operation uses the $first accumulator to compute the first sales date for each item.</a:t>
          </a:r>
          <a:endParaRPr lang="en-US" sz="2000" kern="1200" dirty="0"/>
        </a:p>
      </dsp:txBody>
      <dsp:txXfrm>
        <a:off x="59399" y="780998"/>
        <a:ext cx="6550420" cy="1098002"/>
      </dsp:txXfrm>
    </dsp:sp>
    <dsp:sp modelId="{DB6A1195-CCF9-45A7-A0F0-9272A302AFCA}">
      <dsp:nvSpPr>
        <dsp:cNvPr id="0" name=""/>
        <dsp:cNvSpPr/>
      </dsp:nvSpPr>
      <dsp:spPr>
        <a:xfrm>
          <a:off x="0" y="2125600"/>
          <a:ext cx="6669218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 dirty="0"/>
        </a:p>
      </dsp:txBody>
      <dsp:txXfrm>
        <a:off x="59399" y="2184999"/>
        <a:ext cx="6550420" cy="1098002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36AD66-72FB-4075-8779-D059FAAD0196}">
      <dsp:nvSpPr>
        <dsp:cNvPr id="0" name=""/>
        <dsp:cNvSpPr/>
      </dsp:nvSpPr>
      <dsp:spPr>
        <a:xfrm>
          <a:off x="0" y="19599"/>
          <a:ext cx="6843851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$last returns the value that results from applying an expression to the last document in a group of documents that share the same group by a field. </a:t>
          </a:r>
          <a:endParaRPr lang="en-US" sz="2000" kern="1200" dirty="0"/>
        </a:p>
      </dsp:txBody>
      <dsp:txXfrm>
        <a:off x="59399" y="78998"/>
        <a:ext cx="6725053" cy="1098002"/>
      </dsp:txXfrm>
    </dsp:sp>
    <dsp:sp modelId="{9DD1ABF7-4B36-451C-AED3-C2027B15A9A7}">
      <dsp:nvSpPr>
        <dsp:cNvPr id="0" name=""/>
        <dsp:cNvSpPr/>
      </dsp:nvSpPr>
      <dsp:spPr>
        <a:xfrm>
          <a:off x="0" y="1423600"/>
          <a:ext cx="6843851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Only meaningful when documents are in a defined order.</a:t>
          </a:r>
          <a:endParaRPr lang="en-US" sz="2000" kern="1200" dirty="0"/>
        </a:p>
      </dsp:txBody>
      <dsp:txXfrm>
        <a:off x="59399" y="1482999"/>
        <a:ext cx="6725053" cy="1098002"/>
      </dsp:txXfrm>
    </dsp:sp>
    <dsp:sp modelId="{A8FA6FB6-F25E-4605-B9EF-BBA882D5E378}">
      <dsp:nvSpPr>
        <dsp:cNvPr id="0" name=""/>
        <dsp:cNvSpPr/>
      </dsp:nvSpPr>
      <dsp:spPr>
        <a:xfrm>
          <a:off x="0" y="2827600"/>
          <a:ext cx="6843851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$last is only available in the </a:t>
          </a:r>
          <a:r>
            <a:rPr lang="en-US" sz="2000" b="1" kern="1200" dirty="0" smtClean="0"/>
            <a:t>$group </a:t>
          </a:r>
          <a:r>
            <a:rPr lang="en-US" sz="2000" kern="1200" dirty="0" smtClean="0"/>
            <a:t>stage.</a:t>
          </a:r>
          <a:endParaRPr lang="en-US" sz="2000" kern="1200" dirty="0"/>
        </a:p>
      </dsp:txBody>
      <dsp:txXfrm>
        <a:off x="59399" y="2886999"/>
        <a:ext cx="6725053" cy="1098002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C7BD7B-CD03-4B7C-A8EC-0B37F0506D06}">
      <dsp:nvSpPr>
        <dsp:cNvPr id="0" name=""/>
        <dsp:cNvSpPr/>
      </dsp:nvSpPr>
      <dsp:spPr>
        <a:xfrm>
          <a:off x="0" y="461906"/>
          <a:ext cx="7746126" cy="206378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e following operation first sorts the documents by item and date, and then in the following </a:t>
          </a:r>
          <a:r>
            <a:rPr lang="en-US" sz="2000" b="1" kern="1200" dirty="0" smtClean="0"/>
            <a:t>$group </a:t>
          </a:r>
          <a:r>
            <a:rPr lang="en-US" sz="2000" kern="1200" dirty="0" smtClean="0"/>
            <a:t>stage, groups the now sorted documents by the item field and uses the $last accumulator to compute the last sales date for each item:</a:t>
          </a:r>
          <a:endParaRPr lang="en-US" sz="2000" kern="1200" dirty="0"/>
        </a:p>
      </dsp:txBody>
      <dsp:txXfrm>
        <a:off x="100746" y="562652"/>
        <a:ext cx="7544634" cy="1862295"/>
      </dsp:txXfrm>
    </dsp:sp>
    <dsp:sp modelId="{C18E3F98-9910-4230-BD49-BD098A5E17C3}">
      <dsp:nvSpPr>
        <dsp:cNvPr id="0" name=""/>
        <dsp:cNvSpPr/>
      </dsp:nvSpPr>
      <dsp:spPr>
        <a:xfrm>
          <a:off x="0" y="2679421"/>
          <a:ext cx="7746126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5940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en-US" sz="2000" kern="1200" dirty="0"/>
        </a:p>
      </dsp:txBody>
      <dsp:txXfrm>
        <a:off x="0" y="2679421"/>
        <a:ext cx="7746126" cy="1076400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85AD99-62B1-4B43-BB8F-685D39F59356}">
      <dsp:nvSpPr>
        <dsp:cNvPr id="0" name=""/>
        <dsp:cNvSpPr/>
      </dsp:nvSpPr>
      <dsp:spPr>
        <a:xfrm>
          <a:off x="0" y="227274"/>
          <a:ext cx="7451025" cy="17111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Calculates and returns the sum of numeric values. $sum ignores non-numeric values.</a:t>
          </a:r>
          <a:endParaRPr lang="en-US" sz="2000" kern="1200" dirty="0"/>
        </a:p>
      </dsp:txBody>
      <dsp:txXfrm>
        <a:off x="83530" y="310804"/>
        <a:ext cx="7283965" cy="1544065"/>
      </dsp:txXfrm>
    </dsp:sp>
    <dsp:sp modelId="{5472861D-AAA9-4826-A7BE-03AE4A147649}">
      <dsp:nvSpPr>
        <dsp:cNvPr id="0" name=""/>
        <dsp:cNvSpPr/>
      </dsp:nvSpPr>
      <dsp:spPr>
        <a:xfrm>
          <a:off x="0" y="2125600"/>
          <a:ext cx="7451025" cy="17111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When used in the </a:t>
          </a:r>
          <a:r>
            <a:rPr lang="en-US" sz="2000" b="1" kern="1200" dirty="0" smtClean="0"/>
            <a:t>$group </a:t>
          </a:r>
          <a:r>
            <a:rPr lang="en-US" sz="2000" kern="1200" dirty="0" smtClean="0"/>
            <a:t>stage, $sum has the following syntax and returns the collective sum of all the numeric values that result from applying a specified expression to each document in a group of documents that share the same group by key.</a:t>
          </a:r>
          <a:endParaRPr lang="en-US" sz="2000" kern="1200" dirty="0"/>
        </a:p>
      </dsp:txBody>
      <dsp:txXfrm>
        <a:off x="83530" y="2209130"/>
        <a:ext cx="7283965" cy="154406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322C1C-A42C-43B2-9BF9-421BC871001C}">
      <dsp:nvSpPr>
        <dsp:cNvPr id="0" name=""/>
        <dsp:cNvSpPr/>
      </dsp:nvSpPr>
      <dsp:spPr>
        <a:xfrm>
          <a:off x="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match,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unwind </a:t>
          </a:r>
          <a:endParaRPr lang="en-US" sz="1900" b="1" kern="1200" dirty="0"/>
        </a:p>
      </dsp:txBody>
      <dsp:txXfrm>
        <a:off x="0" y="127000"/>
        <a:ext cx="1904999" cy="1143000"/>
      </dsp:txXfrm>
    </dsp:sp>
    <dsp:sp modelId="{1D09C6AB-553E-4FA7-8CAE-9D99D322E2AF}">
      <dsp:nvSpPr>
        <dsp:cNvPr id="0" name=""/>
        <dsp:cNvSpPr/>
      </dsp:nvSpPr>
      <dsp:spPr>
        <a:xfrm>
          <a:off x="209550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group,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project</a:t>
          </a:r>
          <a:endParaRPr lang="en-US" sz="1900" b="1" kern="1200" dirty="0"/>
        </a:p>
      </dsp:txBody>
      <dsp:txXfrm>
        <a:off x="2095500" y="127000"/>
        <a:ext cx="1904999" cy="1143000"/>
      </dsp:txXfrm>
    </dsp:sp>
    <dsp:sp modelId="{3BA68996-207D-47AC-81A5-82D8FE9D564C}">
      <dsp:nvSpPr>
        <dsp:cNvPr id="0" name=""/>
        <dsp:cNvSpPr/>
      </dsp:nvSpPr>
      <dsp:spPr>
        <a:xfrm>
          <a:off x="419100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skip,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limit</a:t>
          </a:r>
          <a:endParaRPr lang="en-US" sz="1900" b="1" kern="1200" dirty="0"/>
        </a:p>
      </dsp:txBody>
      <dsp:txXfrm>
        <a:off x="4191000" y="127000"/>
        <a:ext cx="1904999" cy="1143000"/>
      </dsp:txXfrm>
    </dsp:sp>
    <dsp:sp modelId="{2A8EA7E4-E631-4C5D-9969-4D0C856CE401}">
      <dsp:nvSpPr>
        <dsp:cNvPr id="0" name=""/>
        <dsp:cNvSpPr/>
      </dsp:nvSpPr>
      <dsp:spPr>
        <a:xfrm>
          <a:off x="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sort,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first</a:t>
          </a:r>
          <a:endParaRPr lang="en-US" sz="1900" b="1" kern="1200" dirty="0"/>
        </a:p>
      </dsp:txBody>
      <dsp:txXfrm>
        <a:off x="0" y="1460500"/>
        <a:ext cx="1904999" cy="1143000"/>
      </dsp:txXfrm>
    </dsp:sp>
    <dsp:sp modelId="{9BA44007-C4F9-4B35-8E0F-B91A25113285}">
      <dsp:nvSpPr>
        <dsp:cNvPr id="0" name=""/>
        <dsp:cNvSpPr/>
      </dsp:nvSpPr>
      <dsp:spPr>
        <a:xfrm>
          <a:off x="209550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last,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sum</a:t>
          </a:r>
          <a:endParaRPr lang="en-US" sz="1900" b="1" kern="1200" dirty="0"/>
        </a:p>
      </dsp:txBody>
      <dsp:txXfrm>
        <a:off x="2095500" y="1460500"/>
        <a:ext cx="1904999" cy="1143000"/>
      </dsp:txXfrm>
    </dsp:sp>
    <dsp:sp modelId="{1734634A-257F-4DBE-9F08-0962D17B316C}">
      <dsp:nvSpPr>
        <dsp:cNvPr id="0" name=""/>
        <dsp:cNvSpPr/>
      </dsp:nvSpPr>
      <dsp:spPr>
        <a:xfrm>
          <a:off x="419100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avg,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min,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max</a:t>
          </a:r>
          <a:endParaRPr lang="en-US" sz="1900" b="1" kern="1200" dirty="0"/>
        </a:p>
      </dsp:txBody>
      <dsp:txXfrm>
        <a:off x="4191000" y="1460500"/>
        <a:ext cx="1904999" cy="1143000"/>
      </dsp:txXfrm>
    </dsp:sp>
    <dsp:sp modelId="{F08202E7-5B7F-4A84-A976-B7183053FDBA}">
      <dsp:nvSpPr>
        <dsp:cNvPr id="0" name=""/>
        <dsp:cNvSpPr/>
      </dsp:nvSpPr>
      <dsp:spPr>
        <a:xfrm>
          <a:off x="2095500" y="2793999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push,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addToSet</a:t>
          </a:r>
          <a:endParaRPr lang="en-US" sz="1900" b="1" kern="1200" dirty="0"/>
        </a:p>
      </dsp:txBody>
      <dsp:txXfrm>
        <a:off x="2095500" y="2793999"/>
        <a:ext cx="1904999" cy="1143000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EDF5CD-CB39-44BF-BED7-5AB61AA89F98}">
      <dsp:nvSpPr>
        <dsp:cNvPr id="0" name=""/>
        <dsp:cNvSpPr/>
      </dsp:nvSpPr>
      <dsp:spPr>
        <a:xfrm>
          <a:off x="0" y="1045397"/>
          <a:ext cx="7251330" cy="140692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Grouping the documents by the day and the year of the date field, the following operation uses the $sum accumulator to compute the total amount and the count for each group of documents.</a:t>
          </a:r>
          <a:endParaRPr lang="en-US" sz="2000" kern="1200" dirty="0"/>
        </a:p>
      </dsp:txBody>
      <dsp:txXfrm>
        <a:off x="68680" y="1114077"/>
        <a:ext cx="7113970" cy="1269564"/>
      </dsp:txXfrm>
    </dsp:sp>
    <dsp:sp modelId="{18728C75-7C21-4F16-883E-66AF40DE740C}">
      <dsp:nvSpPr>
        <dsp:cNvPr id="0" name=""/>
        <dsp:cNvSpPr/>
      </dsp:nvSpPr>
      <dsp:spPr>
        <a:xfrm>
          <a:off x="0" y="2488790"/>
          <a:ext cx="7251330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0230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-&gt;db.employees.aggregate([{$group : {_id : "$gender", NoOfEmp : {$sum : 1}}}])</a:t>
          </a:r>
          <a:endParaRPr lang="en-US" sz="2000" kern="1200" dirty="0"/>
        </a:p>
      </dsp:txBody>
      <dsp:txXfrm>
        <a:off x="0" y="2488790"/>
        <a:ext cx="7251330" cy="1076400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0D59E3-1D59-4ED6-8DE3-59EE375EBA13}">
      <dsp:nvSpPr>
        <dsp:cNvPr id="0" name=""/>
        <dsp:cNvSpPr/>
      </dsp:nvSpPr>
      <dsp:spPr>
        <a:xfrm>
          <a:off x="0" y="531475"/>
          <a:ext cx="7101759" cy="140692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Returns the average value of the numeric values. $avg ignores non-numeric values.</a:t>
          </a:r>
          <a:endParaRPr lang="en-US" sz="2000" kern="1200" dirty="0"/>
        </a:p>
      </dsp:txBody>
      <dsp:txXfrm>
        <a:off x="68680" y="600155"/>
        <a:ext cx="6964399" cy="1269564"/>
      </dsp:txXfrm>
    </dsp:sp>
    <dsp:sp modelId="{B80A6210-F8A1-4BE9-9CAE-A4A931FF1032}">
      <dsp:nvSpPr>
        <dsp:cNvPr id="0" name=""/>
        <dsp:cNvSpPr/>
      </dsp:nvSpPr>
      <dsp:spPr>
        <a:xfrm>
          <a:off x="0" y="2125600"/>
          <a:ext cx="7101759" cy="140692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$avg returns the collective average of all the numeric values that result from applying a specified expression to each document in a group of documents that share the same group by key.</a:t>
          </a:r>
          <a:endParaRPr lang="en-US" sz="2000" kern="1200" dirty="0"/>
        </a:p>
      </dsp:txBody>
      <dsp:txXfrm>
        <a:off x="68680" y="2194280"/>
        <a:ext cx="6964399" cy="1269564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B8DA94-9743-4E85-88FE-F6E90D3F11AD}">
      <dsp:nvSpPr>
        <dsp:cNvPr id="0" name=""/>
        <dsp:cNvSpPr/>
      </dsp:nvSpPr>
      <dsp:spPr>
        <a:xfrm>
          <a:off x="0" y="790337"/>
          <a:ext cx="6974827" cy="140692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Grouping the documents by the item field, the following operation uses the $avg accumulator to compute the average amount and average quantity for each grouping.</a:t>
          </a:r>
          <a:endParaRPr lang="en-US" sz="2000" kern="1200" dirty="0"/>
        </a:p>
      </dsp:txBody>
      <dsp:txXfrm>
        <a:off x="68680" y="859017"/>
        <a:ext cx="6837467" cy="1269564"/>
      </dsp:txXfrm>
    </dsp:sp>
    <dsp:sp modelId="{A0A96F57-3BE7-4BC8-B9EC-EA527ADB9A46}">
      <dsp:nvSpPr>
        <dsp:cNvPr id="0" name=""/>
        <dsp:cNvSpPr/>
      </dsp:nvSpPr>
      <dsp:spPr>
        <a:xfrm>
          <a:off x="0" y="2197262"/>
          <a:ext cx="6974827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1451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-&gt;db.employees.aggregate([{$group : {_id : "$deptinfo._id", AvgSal : {$avg : "$salary"}}}])</a:t>
          </a:r>
          <a:endParaRPr lang="en-US" sz="2000" kern="1200" dirty="0"/>
        </a:p>
      </dsp:txBody>
      <dsp:txXfrm>
        <a:off x="0" y="2197262"/>
        <a:ext cx="6974827" cy="1076400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0640DF-5F40-40FF-B7E2-BFDEEB29A85A}">
      <dsp:nvSpPr>
        <dsp:cNvPr id="0" name=""/>
        <dsp:cNvSpPr/>
      </dsp:nvSpPr>
      <dsp:spPr>
        <a:xfrm>
          <a:off x="0" y="19149"/>
          <a:ext cx="7906206" cy="140049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Returns the maximum value. $max compares both value and type, using the </a:t>
          </a:r>
          <a:r>
            <a:rPr lang="en-US" sz="2000" b="1" i="1" kern="1200" dirty="0" smtClean="0"/>
            <a:t>specified BSON comparison order</a:t>
          </a:r>
          <a:r>
            <a:rPr lang="en-US" sz="2000" b="1" kern="1200" dirty="0" smtClean="0"/>
            <a:t> </a:t>
          </a:r>
          <a:r>
            <a:rPr lang="en-US" sz="2000" kern="1200" dirty="0" smtClean="0"/>
            <a:t>for values of different types. </a:t>
          </a:r>
          <a:endParaRPr lang="en-US" sz="2000" kern="1200" dirty="0"/>
        </a:p>
      </dsp:txBody>
      <dsp:txXfrm>
        <a:off x="68366" y="87515"/>
        <a:ext cx="7769474" cy="1263758"/>
      </dsp:txXfrm>
    </dsp:sp>
    <dsp:sp modelId="{EE0C60C3-CCE6-4F9D-8D11-EA6C4E0C6036}">
      <dsp:nvSpPr>
        <dsp:cNvPr id="0" name=""/>
        <dsp:cNvSpPr/>
      </dsp:nvSpPr>
      <dsp:spPr>
        <a:xfrm>
          <a:off x="0" y="1601080"/>
          <a:ext cx="7906206" cy="140049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Grouping the documents by the item field, the following operation uses the $max accumulator to compute the maximum total amount and maximum quantity for each group of documents.</a:t>
          </a:r>
          <a:endParaRPr lang="en-US" sz="2000" kern="1200" dirty="0"/>
        </a:p>
      </dsp:txBody>
      <dsp:txXfrm>
        <a:off x="68366" y="1669446"/>
        <a:ext cx="7769474" cy="1263758"/>
      </dsp:txXfrm>
    </dsp:sp>
    <dsp:sp modelId="{F04217B8-2AF4-4E4F-B67E-5B135E8A7408}">
      <dsp:nvSpPr>
        <dsp:cNvPr id="0" name=""/>
        <dsp:cNvSpPr/>
      </dsp:nvSpPr>
      <dsp:spPr>
        <a:xfrm>
          <a:off x="0" y="3001569"/>
          <a:ext cx="7906206" cy="10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1022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u="none" kern="1200" dirty="0" smtClean="0"/>
            <a:t>&gt; db.employees.aggregate([{$group:{_id: "$deptinfo._id",maxSal: {$max:"$salary"}}}])</a:t>
          </a:r>
          <a:endParaRPr lang="en-US" sz="2000" kern="1200" dirty="0"/>
        </a:p>
      </dsp:txBody>
      <dsp:txXfrm>
        <a:off x="0" y="3001569"/>
        <a:ext cx="7906206" cy="1043280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2E9370-E437-41F3-A34F-DCB8A6262164}">
      <dsp:nvSpPr>
        <dsp:cNvPr id="0" name=""/>
        <dsp:cNvSpPr/>
      </dsp:nvSpPr>
      <dsp:spPr>
        <a:xfrm>
          <a:off x="0" y="201839"/>
          <a:ext cx="7164012" cy="140692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Returns the minimum value. $min compares both value and type, using the </a:t>
          </a:r>
          <a:r>
            <a:rPr lang="en-US" sz="2000" b="1" i="1" kern="1200" dirty="0" smtClean="0"/>
            <a:t>specified BSON comparison order </a:t>
          </a:r>
          <a:r>
            <a:rPr lang="en-US" sz="2000" kern="1200" dirty="0" smtClean="0"/>
            <a:t>for values of different types.</a:t>
          </a:r>
          <a:endParaRPr lang="en-US" sz="2000" kern="1200" dirty="0"/>
        </a:p>
      </dsp:txBody>
      <dsp:txXfrm>
        <a:off x="68680" y="270519"/>
        <a:ext cx="7026652" cy="1269564"/>
      </dsp:txXfrm>
    </dsp:sp>
    <dsp:sp modelId="{54629B3F-2074-4038-B5D4-E191ED268371}">
      <dsp:nvSpPr>
        <dsp:cNvPr id="0" name=""/>
        <dsp:cNvSpPr/>
      </dsp:nvSpPr>
      <dsp:spPr>
        <a:xfrm>
          <a:off x="0" y="1795965"/>
          <a:ext cx="7164012" cy="140692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Grouping the documents by the item field, the following operation uses the $min accumulator to compute the minimum amount and minimum quantity for each grouping.</a:t>
          </a:r>
          <a:endParaRPr lang="en-US" sz="2000" kern="1200" dirty="0"/>
        </a:p>
      </dsp:txBody>
      <dsp:txXfrm>
        <a:off x="68680" y="1864645"/>
        <a:ext cx="7026652" cy="1269564"/>
      </dsp:txXfrm>
    </dsp:sp>
    <dsp:sp modelId="{B898D3A4-D3B1-431C-9077-DB85AD919DDC}">
      <dsp:nvSpPr>
        <dsp:cNvPr id="0" name=""/>
        <dsp:cNvSpPr/>
      </dsp:nvSpPr>
      <dsp:spPr>
        <a:xfrm>
          <a:off x="0" y="3202890"/>
          <a:ext cx="7164012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457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en-US" sz="2000" kern="1200" dirty="0"/>
        </a:p>
      </dsp:txBody>
      <dsp:txXfrm>
        <a:off x="0" y="3202890"/>
        <a:ext cx="7164012" cy="1076400"/>
      </dsp:txXfrm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0465EE-15F9-46EF-B4DE-EAED1DA82C2C}">
      <dsp:nvSpPr>
        <dsp:cNvPr id="0" name=""/>
        <dsp:cNvSpPr/>
      </dsp:nvSpPr>
      <dsp:spPr>
        <a:xfrm>
          <a:off x="0" y="19149"/>
          <a:ext cx="7411410" cy="140049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Returns an array of </a:t>
          </a:r>
          <a:r>
            <a:rPr lang="en-US" sz="2000" i="1" kern="1200" dirty="0" smtClean="0"/>
            <a:t>all</a:t>
          </a:r>
          <a:r>
            <a:rPr lang="en-US" sz="2000" kern="1200" dirty="0" smtClean="0"/>
            <a:t> values that result from applying an expression to each document in a group of documents that share the same group by key.</a:t>
          </a:r>
          <a:endParaRPr lang="en-US" sz="2000" kern="1200" dirty="0"/>
        </a:p>
      </dsp:txBody>
      <dsp:txXfrm>
        <a:off x="68366" y="87515"/>
        <a:ext cx="7274678" cy="1263758"/>
      </dsp:txXfrm>
    </dsp:sp>
    <dsp:sp modelId="{911E46D3-70AC-4063-AC4D-51029B948722}">
      <dsp:nvSpPr>
        <dsp:cNvPr id="0" name=""/>
        <dsp:cNvSpPr/>
      </dsp:nvSpPr>
      <dsp:spPr>
        <a:xfrm>
          <a:off x="0" y="1601080"/>
          <a:ext cx="7411410" cy="140049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Grouping the documents by the day and the year of the date field, the following operation uses the $push accumulator to compute the list of items and quantities sold for each group:</a:t>
          </a:r>
          <a:endParaRPr lang="en-US" sz="2000" kern="1200" dirty="0"/>
        </a:p>
      </dsp:txBody>
      <dsp:txXfrm>
        <a:off x="68366" y="1669446"/>
        <a:ext cx="7274678" cy="1263758"/>
      </dsp:txXfrm>
    </dsp:sp>
    <dsp:sp modelId="{2E3C8E24-B3F6-46C9-90A7-7287198E379F}">
      <dsp:nvSpPr>
        <dsp:cNvPr id="0" name=""/>
        <dsp:cNvSpPr/>
      </dsp:nvSpPr>
      <dsp:spPr>
        <a:xfrm>
          <a:off x="0" y="3001569"/>
          <a:ext cx="7411410" cy="10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5312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db.employees.aggregate([{$group:{_id:"$deptinfo._id",ListOfEmp:{$push:{fname:"$firstname",lname:"$lastname"}}}}]).pretty()</a:t>
          </a:r>
          <a:endParaRPr lang="en-US" sz="2000" kern="1200" dirty="0"/>
        </a:p>
      </dsp:txBody>
      <dsp:txXfrm>
        <a:off x="0" y="3001569"/>
        <a:ext cx="7411410" cy="1043280"/>
      </dsp:txXfrm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C002C8-E256-4EB8-86E9-B9F604F6D23E}">
      <dsp:nvSpPr>
        <dsp:cNvPr id="0" name=""/>
        <dsp:cNvSpPr/>
      </dsp:nvSpPr>
      <dsp:spPr>
        <a:xfrm>
          <a:off x="0" y="401"/>
          <a:ext cx="7891651" cy="134684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Returns an array of all </a:t>
          </a:r>
          <a:r>
            <a:rPr lang="en-US" sz="2000" i="1" kern="1200" dirty="0" smtClean="0"/>
            <a:t>unique</a:t>
          </a:r>
          <a:r>
            <a:rPr lang="en-US" sz="2000" kern="1200" dirty="0" smtClean="0"/>
            <a:t> values that results from applying an expression to each document in a group of documents that share the same group by key. Order of the elements in the output array is unspecified.</a:t>
          </a:r>
          <a:endParaRPr lang="en-US" sz="2000" kern="1200" dirty="0"/>
        </a:p>
      </dsp:txBody>
      <dsp:txXfrm>
        <a:off x="65747" y="66148"/>
        <a:ext cx="7760157" cy="1215348"/>
      </dsp:txXfrm>
    </dsp:sp>
    <dsp:sp modelId="{F9B1423D-79E9-466E-B1F1-322C06A321E2}">
      <dsp:nvSpPr>
        <dsp:cNvPr id="0" name=""/>
        <dsp:cNvSpPr/>
      </dsp:nvSpPr>
      <dsp:spPr>
        <a:xfrm>
          <a:off x="0" y="1358578"/>
          <a:ext cx="7891651" cy="134684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If the value of the expression is an array, $addToSet appends the whole array as a </a:t>
          </a:r>
          <a:r>
            <a:rPr lang="en-US" sz="2000" i="1" kern="1200" dirty="0" smtClean="0"/>
            <a:t>single</a:t>
          </a:r>
          <a:r>
            <a:rPr lang="en-US" sz="2000" kern="1200" dirty="0" smtClean="0"/>
            <a:t> element.</a:t>
          </a:r>
          <a:endParaRPr lang="en-US" sz="2000" kern="1200" dirty="0"/>
        </a:p>
      </dsp:txBody>
      <dsp:txXfrm>
        <a:off x="65747" y="1424325"/>
        <a:ext cx="7760157" cy="1215348"/>
      </dsp:txXfrm>
    </dsp:sp>
    <dsp:sp modelId="{E885BC8A-173D-48A5-80DF-DD75FAC8A6F1}">
      <dsp:nvSpPr>
        <dsp:cNvPr id="0" name=""/>
        <dsp:cNvSpPr/>
      </dsp:nvSpPr>
      <dsp:spPr>
        <a:xfrm>
          <a:off x="0" y="2716755"/>
          <a:ext cx="7891651" cy="134684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If the value of the expression is a document, MongoDB determines that the document is a duplicate if another document in the array matches the to-be-added document exactly; i.e. the existing document has the exact same fields and values in the exact same order.</a:t>
          </a:r>
          <a:endParaRPr lang="en-US" sz="2000" kern="1200" dirty="0"/>
        </a:p>
      </dsp:txBody>
      <dsp:txXfrm>
        <a:off x="65747" y="2782502"/>
        <a:ext cx="7760157" cy="1215348"/>
      </dsp:txXfrm>
    </dsp:sp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322C1C-A42C-43B2-9BF9-421BC871001C}">
      <dsp:nvSpPr>
        <dsp:cNvPr id="0" name=""/>
        <dsp:cNvSpPr/>
      </dsp:nvSpPr>
      <dsp:spPr>
        <a:xfrm>
          <a:off x="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match,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unwind </a:t>
          </a:r>
          <a:endParaRPr lang="en-US" sz="1900" b="1" kern="1200" dirty="0"/>
        </a:p>
      </dsp:txBody>
      <dsp:txXfrm>
        <a:off x="0" y="127000"/>
        <a:ext cx="1904999" cy="1143000"/>
      </dsp:txXfrm>
    </dsp:sp>
    <dsp:sp modelId="{1D09C6AB-553E-4FA7-8CAE-9D99D322E2AF}">
      <dsp:nvSpPr>
        <dsp:cNvPr id="0" name=""/>
        <dsp:cNvSpPr/>
      </dsp:nvSpPr>
      <dsp:spPr>
        <a:xfrm>
          <a:off x="209550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group,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project</a:t>
          </a:r>
          <a:endParaRPr lang="en-US" sz="1900" b="1" kern="1200" dirty="0"/>
        </a:p>
      </dsp:txBody>
      <dsp:txXfrm>
        <a:off x="2095500" y="127000"/>
        <a:ext cx="1904999" cy="1143000"/>
      </dsp:txXfrm>
    </dsp:sp>
    <dsp:sp modelId="{3BA68996-207D-47AC-81A5-82D8FE9D564C}">
      <dsp:nvSpPr>
        <dsp:cNvPr id="0" name=""/>
        <dsp:cNvSpPr/>
      </dsp:nvSpPr>
      <dsp:spPr>
        <a:xfrm>
          <a:off x="419100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skip,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limit</a:t>
          </a:r>
          <a:endParaRPr lang="en-US" sz="1900" b="1" kern="1200" dirty="0"/>
        </a:p>
      </dsp:txBody>
      <dsp:txXfrm>
        <a:off x="4191000" y="127000"/>
        <a:ext cx="1904999" cy="1143000"/>
      </dsp:txXfrm>
    </dsp:sp>
    <dsp:sp modelId="{2A8EA7E4-E631-4C5D-9969-4D0C856CE401}">
      <dsp:nvSpPr>
        <dsp:cNvPr id="0" name=""/>
        <dsp:cNvSpPr/>
      </dsp:nvSpPr>
      <dsp:spPr>
        <a:xfrm>
          <a:off x="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sort,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first</a:t>
          </a:r>
          <a:endParaRPr lang="en-US" sz="1900" b="1" kern="1200" dirty="0"/>
        </a:p>
      </dsp:txBody>
      <dsp:txXfrm>
        <a:off x="0" y="1460500"/>
        <a:ext cx="1904999" cy="1143000"/>
      </dsp:txXfrm>
    </dsp:sp>
    <dsp:sp modelId="{9BA44007-C4F9-4B35-8E0F-B91A25113285}">
      <dsp:nvSpPr>
        <dsp:cNvPr id="0" name=""/>
        <dsp:cNvSpPr/>
      </dsp:nvSpPr>
      <dsp:spPr>
        <a:xfrm>
          <a:off x="209550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last,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sum</a:t>
          </a:r>
          <a:endParaRPr lang="en-US" sz="1900" b="1" kern="1200" dirty="0"/>
        </a:p>
      </dsp:txBody>
      <dsp:txXfrm>
        <a:off x="2095500" y="1460500"/>
        <a:ext cx="1904999" cy="1143000"/>
      </dsp:txXfrm>
    </dsp:sp>
    <dsp:sp modelId="{1734634A-257F-4DBE-9F08-0962D17B316C}">
      <dsp:nvSpPr>
        <dsp:cNvPr id="0" name=""/>
        <dsp:cNvSpPr/>
      </dsp:nvSpPr>
      <dsp:spPr>
        <a:xfrm>
          <a:off x="419100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avg,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min,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max</a:t>
          </a:r>
          <a:endParaRPr lang="en-US" sz="1900" b="1" kern="1200" dirty="0"/>
        </a:p>
      </dsp:txBody>
      <dsp:txXfrm>
        <a:off x="4191000" y="1460500"/>
        <a:ext cx="1904999" cy="1143000"/>
      </dsp:txXfrm>
    </dsp:sp>
    <dsp:sp modelId="{F08202E7-5B7F-4A84-A976-B7183053FDBA}">
      <dsp:nvSpPr>
        <dsp:cNvPr id="0" name=""/>
        <dsp:cNvSpPr/>
      </dsp:nvSpPr>
      <dsp:spPr>
        <a:xfrm>
          <a:off x="2095500" y="2793999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push,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addToSet</a:t>
          </a:r>
          <a:endParaRPr lang="en-US" sz="1900" b="1" kern="1200" dirty="0"/>
        </a:p>
      </dsp:txBody>
      <dsp:txXfrm>
        <a:off x="2095500" y="2793999"/>
        <a:ext cx="1904999" cy="11430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1AC206-2A43-42B1-8C29-91CEFF0342BC}">
      <dsp:nvSpPr>
        <dsp:cNvPr id="0" name=""/>
        <dsp:cNvSpPr/>
      </dsp:nvSpPr>
      <dsp:spPr>
        <a:xfrm>
          <a:off x="0" y="156651"/>
          <a:ext cx="7396858" cy="196931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For the aggregation in MongoDB you should use       </a:t>
          </a:r>
          <a:r>
            <a:rPr lang="en-US" sz="1900" b="1" kern="1200" dirty="0" smtClean="0"/>
            <a:t>aggregate()</a:t>
          </a:r>
          <a:r>
            <a:rPr lang="en-US" sz="1900" kern="1200" dirty="0" smtClean="0"/>
            <a:t> method.</a:t>
          </a:r>
          <a:endParaRPr lang="en-US" sz="1900" kern="1200" dirty="0"/>
        </a:p>
      </dsp:txBody>
      <dsp:txXfrm>
        <a:off x="96134" y="252785"/>
        <a:ext cx="7204590" cy="1777051"/>
      </dsp:txXfrm>
    </dsp:sp>
    <dsp:sp modelId="{74E25851-2A08-41E0-9D5E-DCB69DEBE9BB}">
      <dsp:nvSpPr>
        <dsp:cNvPr id="0" name=""/>
        <dsp:cNvSpPr/>
      </dsp:nvSpPr>
      <dsp:spPr>
        <a:xfrm>
          <a:off x="0" y="2129890"/>
          <a:ext cx="7396858" cy="873916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Syntax:</a:t>
          </a:r>
        </a:p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Basic syntax of </a:t>
          </a:r>
          <a:r>
            <a:rPr lang="en-US" sz="1900" b="1" kern="1200" dirty="0" smtClean="0"/>
            <a:t>aggregate()</a:t>
          </a:r>
          <a:r>
            <a:rPr lang="en-US" sz="1900" kern="1200" dirty="0" smtClean="0"/>
            <a:t> method is as follows:</a:t>
          </a:r>
          <a:endParaRPr lang="en-US" sz="1900" kern="1200" dirty="0"/>
        </a:p>
      </dsp:txBody>
      <dsp:txXfrm>
        <a:off x="42661" y="2172551"/>
        <a:ext cx="7311536" cy="788594"/>
      </dsp:txXfrm>
    </dsp:sp>
    <dsp:sp modelId="{66BE90C6-1EE8-4D05-AF46-995E69951106}">
      <dsp:nvSpPr>
        <dsp:cNvPr id="0" name=""/>
        <dsp:cNvSpPr/>
      </dsp:nvSpPr>
      <dsp:spPr>
        <a:xfrm>
          <a:off x="0" y="3435604"/>
          <a:ext cx="7396858" cy="440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4850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b="1" kern="1200" dirty="0" smtClean="0"/>
            <a:t>&gt;db.COLLECTION_NAME.aggregate(AGGREGATE_OPERATION)</a:t>
          </a:r>
          <a:endParaRPr lang="en-US" sz="1500" b="1" kern="1200" dirty="0"/>
        </a:p>
      </dsp:txBody>
      <dsp:txXfrm>
        <a:off x="0" y="3435604"/>
        <a:ext cx="7396858" cy="44025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A71C65-67E0-4022-AB48-F384F0A16962}">
      <dsp:nvSpPr>
        <dsp:cNvPr id="0" name=""/>
        <dsp:cNvSpPr/>
      </dsp:nvSpPr>
      <dsp:spPr>
        <a:xfrm>
          <a:off x="0" y="19599"/>
          <a:ext cx="6756534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e aggregation framework is based on pipeline concept, just like  Unix pipeline.</a:t>
          </a:r>
          <a:endParaRPr lang="en-US" sz="2000" kern="1200" dirty="0"/>
        </a:p>
      </dsp:txBody>
      <dsp:txXfrm>
        <a:off x="59399" y="78998"/>
        <a:ext cx="6637736" cy="1098002"/>
      </dsp:txXfrm>
    </dsp:sp>
    <dsp:sp modelId="{C28D2B83-28F4-4AAC-9A7E-852E7E9D134F}">
      <dsp:nvSpPr>
        <dsp:cNvPr id="0" name=""/>
        <dsp:cNvSpPr/>
      </dsp:nvSpPr>
      <dsp:spPr>
        <a:xfrm>
          <a:off x="0" y="1423600"/>
          <a:ext cx="6756534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ere can be N number of operators.</a:t>
          </a:r>
          <a:endParaRPr lang="en-US" sz="2000" kern="1200" dirty="0"/>
        </a:p>
      </dsp:txBody>
      <dsp:txXfrm>
        <a:off x="59399" y="1482999"/>
        <a:ext cx="6637736" cy="1098002"/>
      </dsp:txXfrm>
    </dsp:sp>
    <dsp:sp modelId="{790E7922-3307-4A5C-9E22-4082A980A5F8}">
      <dsp:nvSpPr>
        <dsp:cNvPr id="0" name=""/>
        <dsp:cNvSpPr/>
      </dsp:nvSpPr>
      <dsp:spPr>
        <a:xfrm>
          <a:off x="0" y="2827600"/>
          <a:ext cx="6756534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Output of first operator will be fed as input to the second  operator. Output of second operator will be fed as input to  the third operator and so on.</a:t>
          </a:r>
          <a:endParaRPr lang="en-US" sz="2000" kern="1200" dirty="0"/>
        </a:p>
      </dsp:txBody>
      <dsp:txXfrm>
        <a:off x="59399" y="2886999"/>
        <a:ext cx="6637736" cy="109800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87DB6D-F368-47F6-911C-C77FCCE998CD}">
      <dsp:nvSpPr>
        <dsp:cNvPr id="0" name=""/>
        <dsp:cNvSpPr/>
      </dsp:nvSpPr>
      <dsp:spPr>
        <a:xfrm>
          <a:off x="0" y="290203"/>
          <a:ext cx="8240928" cy="428400"/>
        </a:xfrm>
        <a:prstGeom prst="rect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CD8E01-9CF2-484E-9584-DF7B8CE93360}">
      <dsp:nvSpPr>
        <dsp:cNvPr id="0" name=""/>
        <dsp:cNvSpPr/>
      </dsp:nvSpPr>
      <dsp:spPr>
        <a:xfrm>
          <a:off x="412046" y="39283"/>
          <a:ext cx="7081882" cy="5018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041" tIns="0" rIns="218041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Modeled on the concept of data processing pipelines. </a:t>
          </a:r>
          <a:endParaRPr lang="en-US" sz="1800" kern="1200" dirty="0"/>
        </a:p>
      </dsp:txBody>
      <dsp:txXfrm>
        <a:off x="436544" y="63781"/>
        <a:ext cx="7032886" cy="452844"/>
      </dsp:txXfrm>
    </dsp:sp>
    <dsp:sp modelId="{9E17DFDC-F6CB-43BB-90FA-E204A06D5761}">
      <dsp:nvSpPr>
        <dsp:cNvPr id="0" name=""/>
        <dsp:cNvSpPr/>
      </dsp:nvSpPr>
      <dsp:spPr>
        <a:xfrm>
          <a:off x="0" y="1061323"/>
          <a:ext cx="8240928" cy="1285200"/>
        </a:xfrm>
        <a:prstGeom prst="rect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9588" tIns="354076" rIns="639588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i="1" kern="1200" dirty="0" smtClean="0"/>
            <a:t>Filters</a:t>
          </a:r>
          <a:r>
            <a:rPr lang="en-US" sz="1800" kern="1200" dirty="0" smtClean="0"/>
            <a:t> that operate like queries.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i="1" kern="1200" dirty="0" smtClean="0"/>
            <a:t>Document transformations</a:t>
          </a:r>
          <a:r>
            <a:rPr lang="en-US" sz="1800" kern="1200" dirty="0" smtClean="0"/>
            <a:t> that modify the form of the output document.</a:t>
          </a:r>
          <a:endParaRPr lang="en-US" sz="1800" kern="1200" dirty="0"/>
        </a:p>
      </dsp:txBody>
      <dsp:txXfrm>
        <a:off x="0" y="1061323"/>
        <a:ext cx="8240928" cy="1285200"/>
      </dsp:txXfrm>
    </dsp:sp>
    <dsp:sp modelId="{0CD2B781-12C5-44E4-9C0E-BAF26FA2676C}">
      <dsp:nvSpPr>
        <dsp:cNvPr id="0" name=""/>
        <dsp:cNvSpPr/>
      </dsp:nvSpPr>
      <dsp:spPr>
        <a:xfrm>
          <a:off x="412046" y="810403"/>
          <a:ext cx="7081882" cy="5018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041" tIns="0" rIns="218041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rovides:</a:t>
          </a:r>
          <a:endParaRPr lang="en-US" sz="1800" kern="1200" dirty="0"/>
        </a:p>
      </dsp:txBody>
      <dsp:txXfrm>
        <a:off x="436544" y="834901"/>
        <a:ext cx="7032886" cy="452844"/>
      </dsp:txXfrm>
    </dsp:sp>
    <dsp:sp modelId="{143B3A84-25AC-4DDF-A7FD-0749F14E4872}">
      <dsp:nvSpPr>
        <dsp:cNvPr id="0" name=""/>
        <dsp:cNvSpPr/>
      </dsp:nvSpPr>
      <dsp:spPr>
        <a:xfrm>
          <a:off x="0" y="2689243"/>
          <a:ext cx="8240928" cy="1285200"/>
        </a:xfrm>
        <a:prstGeom prst="rect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9588" tIns="354076" rIns="639588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Grouping and sorting by field.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Aggregating the contents of arrays, including arrays of documents.</a:t>
          </a:r>
        </a:p>
      </dsp:txBody>
      <dsp:txXfrm>
        <a:off x="0" y="2689243"/>
        <a:ext cx="8240928" cy="1285200"/>
      </dsp:txXfrm>
    </dsp:sp>
    <dsp:sp modelId="{3B53CE21-79EC-44D1-9E7C-71E642773055}">
      <dsp:nvSpPr>
        <dsp:cNvPr id="0" name=""/>
        <dsp:cNvSpPr/>
      </dsp:nvSpPr>
      <dsp:spPr>
        <a:xfrm>
          <a:off x="412046" y="2438323"/>
          <a:ext cx="7081882" cy="5018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041" tIns="0" rIns="218041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rovides tools for:</a:t>
          </a:r>
          <a:endParaRPr lang="en-US" sz="1800" kern="1200" dirty="0"/>
        </a:p>
      </dsp:txBody>
      <dsp:txXfrm>
        <a:off x="436544" y="2462821"/>
        <a:ext cx="7032886" cy="452844"/>
      </dsp:txXfrm>
    </dsp:sp>
    <dsp:sp modelId="{04C1004A-CCDF-42F3-867A-90258C6475AD}">
      <dsp:nvSpPr>
        <dsp:cNvPr id="0" name=""/>
        <dsp:cNvSpPr/>
      </dsp:nvSpPr>
      <dsp:spPr>
        <a:xfrm>
          <a:off x="0" y="4317163"/>
          <a:ext cx="8240928" cy="428400"/>
        </a:xfrm>
        <a:prstGeom prst="rect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C0158A-3F56-4747-A1D9-C751D67B894C}">
      <dsp:nvSpPr>
        <dsp:cNvPr id="0" name=""/>
        <dsp:cNvSpPr/>
      </dsp:nvSpPr>
      <dsp:spPr>
        <a:xfrm>
          <a:off x="412046" y="4066243"/>
          <a:ext cx="7081882" cy="5018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041" tIns="0" rIns="218041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Can use </a:t>
          </a:r>
          <a:r>
            <a:rPr lang="en-US" sz="1800" b="1" kern="1200" dirty="0" smtClean="0"/>
            <a:t>operators </a:t>
          </a:r>
          <a:r>
            <a:rPr lang="en-US" sz="1800" kern="1200" dirty="0" smtClean="0"/>
            <a:t>for tasks such as calculating the average or concatenating a string.</a:t>
          </a:r>
          <a:endParaRPr lang="en-US" sz="1800" kern="1200" dirty="0"/>
        </a:p>
      </dsp:txBody>
      <dsp:txXfrm>
        <a:off x="436544" y="4090741"/>
        <a:ext cx="7032886" cy="45284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E0EF61-6F42-4046-A9CA-A178047DC8DE}">
      <dsp:nvSpPr>
        <dsp:cNvPr id="0" name=""/>
        <dsp:cNvSpPr/>
      </dsp:nvSpPr>
      <dsp:spPr>
        <a:xfrm>
          <a:off x="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/>
            <a:t>$match</a:t>
          </a:r>
          <a:endParaRPr lang="en-US" sz="2700" b="1" kern="1200" dirty="0"/>
        </a:p>
      </dsp:txBody>
      <dsp:txXfrm>
        <a:off x="0" y="127000"/>
        <a:ext cx="1904999" cy="1143000"/>
      </dsp:txXfrm>
    </dsp:sp>
    <dsp:sp modelId="{4D739325-3AD1-4B84-BE28-3160059CB44D}">
      <dsp:nvSpPr>
        <dsp:cNvPr id="0" name=""/>
        <dsp:cNvSpPr/>
      </dsp:nvSpPr>
      <dsp:spPr>
        <a:xfrm>
          <a:off x="209550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/>
            <a:t>$unwind</a:t>
          </a:r>
          <a:endParaRPr lang="en-US" sz="2700" b="1" kern="1200" dirty="0"/>
        </a:p>
      </dsp:txBody>
      <dsp:txXfrm>
        <a:off x="2095500" y="127000"/>
        <a:ext cx="1904999" cy="1143000"/>
      </dsp:txXfrm>
    </dsp:sp>
    <dsp:sp modelId="{610F13F1-E6A2-47C1-8D45-8D423A722844}">
      <dsp:nvSpPr>
        <dsp:cNvPr id="0" name=""/>
        <dsp:cNvSpPr/>
      </dsp:nvSpPr>
      <dsp:spPr>
        <a:xfrm>
          <a:off x="419100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/>
            <a:t>$group</a:t>
          </a:r>
          <a:endParaRPr lang="en-US" sz="2700" b="1" kern="1200" dirty="0"/>
        </a:p>
      </dsp:txBody>
      <dsp:txXfrm>
        <a:off x="4191000" y="127000"/>
        <a:ext cx="1904999" cy="1143000"/>
      </dsp:txXfrm>
    </dsp:sp>
    <dsp:sp modelId="{EA622EE3-6FF0-48F9-A93C-61129A2E1DA6}">
      <dsp:nvSpPr>
        <dsp:cNvPr id="0" name=""/>
        <dsp:cNvSpPr/>
      </dsp:nvSpPr>
      <dsp:spPr>
        <a:xfrm>
          <a:off x="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/>
            <a:t>$project</a:t>
          </a:r>
          <a:endParaRPr lang="en-US" sz="2700" b="1" kern="1200" dirty="0"/>
        </a:p>
      </dsp:txBody>
      <dsp:txXfrm>
        <a:off x="0" y="1460500"/>
        <a:ext cx="1904999" cy="1143000"/>
      </dsp:txXfrm>
    </dsp:sp>
    <dsp:sp modelId="{694599E6-F425-4DA0-868F-D780EA9D8D4F}">
      <dsp:nvSpPr>
        <dsp:cNvPr id="0" name=""/>
        <dsp:cNvSpPr/>
      </dsp:nvSpPr>
      <dsp:spPr>
        <a:xfrm>
          <a:off x="209550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/>
            <a:t>$skip</a:t>
          </a:r>
          <a:endParaRPr lang="en-US" sz="2700" b="1" kern="1200" dirty="0"/>
        </a:p>
      </dsp:txBody>
      <dsp:txXfrm>
        <a:off x="2095500" y="1460500"/>
        <a:ext cx="1904999" cy="1143000"/>
      </dsp:txXfrm>
    </dsp:sp>
    <dsp:sp modelId="{F71CC4B8-B434-483E-94E5-C33243966A9A}">
      <dsp:nvSpPr>
        <dsp:cNvPr id="0" name=""/>
        <dsp:cNvSpPr/>
      </dsp:nvSpPr>
      <dsp:spPr>
        <a:xfrm>
          <a:off x="419100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/>
            <a:t>$limit</a:t>
          </a:r>
          <a:endParaRPr lang="en-US" sz="2700" b="1" kern="1200" dirty="0"/>
        </a:p>
      </dsp:txBody>
      <dsp:txXfrm>
        <a:off x="4191000" y="1460500"/>
        <a:ext cx="1904999" cy="1143000"/>
      </dsp:txXfrm>
    </dsp:sp>
    <dsp:sp modelId="{752D6FAA-6D6A-4EBF-8EEA-7D82B9BC77DD}">
      <dsp:nvSpPr>
        <dsp:cNvPr id="0" name=""/>
        <dsp:cNvSpPr/>
      </dsp:nvSpPr>
      <dsp:spPr>
        <a:xfrm>
          <a:off x="2095500" y="2793999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/>
            <a:t>$sort</a:t>
          </a:r>
          <a:endParaRPr lang="en-US" sz="2700" b="1" kern="1200" dirty="0"/>
        </a:p>
      </dsp:txBody>
      <dsp:txXfrm>
        <a:off x="2095500" y="2793999"/>
        <a:ext cx="1904999" cy="114300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FDAF49-E766-46DD-A470-DBCE277A14A8}">
      <dsp:nvSpPr>
        <dsp:cNvPr id="0" name=""/>
        <dsp:cNvSpPr/>
      </dsp:nvSpPr>
      <dsp:spPr>
        <a:xfrm>
          <a:off x="0" y="52273"/>
          <a:ext cx="7469622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is is similar to MongoDB Collection's find method and SQL's WHERE clause.</a:t>
          </a:r>
          <a:endParaRPr lang="en-US" sz="2000" kern="1200" dirty="0"/>
        </a:p>
      </dsp:txBody>
      <dsp:txXfrm>
        <a:off x="59399" y="111672"/>
        <a:ext cx="7350824" cy="1098002"/>
      </dsp:txXfrm>
    </dsp:sp>
    <dsp:sp modelId="{5E5AA727-30E0-4B23-8C99-9180AE380801}">
      <dsp:nvSpPr>
        <dsp:cNvPr id="0" name=""/>
        <dsp:cNvSpPr/>
      </dsp:nvSpPr>
      <dsp:spPr>
        <a:xfrm>
          <a:off x="0" y="1456273"/>
          <a:ext cx="7469622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Example: :</a:t>
          </a:r>
          <a:r>
            <a:rPr lang="en-US" sz="2000" kern="1200" dirty="0" smtClean="0"/>
            <a:t> Lets try and get the employees with female gender</a:t>
          </a:r>
          <a:endParaRPr lang="en-US" sz="2000" kern="1200" dirty="0"/>
        </a:p>
      </dsp:txBody>
      <dsp:txXfrm>
        <a:off x="59399" y="1515672"/>
        <a:ext cx="7350824" cy="1098002"/>
      </dsp:txXfrm>
    </dsp:sp>
    <dsp:sp modelId="{DF1787A3-70DD-4AF4-B5EA-3AB8BBD1A027}">
      <dsp:nvSpPr>
        <dsp:cNvPr id="0" name=""/>
        <dsp:cNvSpPr/>
      </dsp:nvSpPr>
      <dsp:spPr>
        <a:xfrm>
          <a:off x="0" y="2673073"/>
          <a:ext cx="7469622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7160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db.employees.aggregate([{ $match: {"gender": "female" }}]);</a:t>
          </a:r>
          <a:endParaRPr lang="en-US" sz="2000" kern="1200" dirty="0"/>
        </a:p>
      </dsp:txBody>
      <dsp:txXfrm>
        <a:off x="0" y="2673073"/>
        <a:ext cx="7469622" cy="107640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39202E-431B-437F-8EFC-A1004BD6B698}">
      <dsp:nvSpPr>
        <dsp:cNvPr id="0" name=""/>
        <dsp:cNvSpPr/>
      </dsp:nvSpPr>
      <dsp:spPr>
        <a:xfrm>
          <a:off x="0" y="50748"/>
          <a:ext cx="6931168" cy="14069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This </a:t>
          </a:r>
          <a:r>
            <a:rPr lang="en-US" sz="2000" kern="1200" dirty="0" smtClean="0"/>
            <a:t>will</a:t>
          </a:r>
          <a:r>
            <a:rPr lang="en-US" sz="2200" kern="1200" dirty="0" smtClean="0"/>
            <a:t> be very useful when the data is stored as list. </a:t>
          </a:r>
          <a:endParaRPr lang="en-US" sz="2200" kern="1200" dirty="0"/>
        </a:p>
      </dsp:txBody>
      <dsp:txXfrm>
        <a:off x="68680" y="119428"/>
        <a:ext cx="6793808" cy="1269565"/>
      </dsp:txXfrm>
    </dsp:sp>
    <dsp:sp modelId="{D407C6B8-5C60-4587-94F1-C385CA88E18E}">
      <dsp:nvSpPr>
        <dsp:cNvPr id="0" name=""/>
        <dsp:cNvSpPr/>
      </dsp:nvSpPr>
      <dsp:spPr>
        <a:xfrm>
          <a:off x="0" y="1515273"/>
          <a:ext cx="6931168" cy="14069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When the unwind operator is applied on a list data field, it will generate a new record for each and every element of  the list data field on which unwind is applied. </a:t>
          </a:r>
          <a:endParaRPr lang="en-US" sz="2000" kern="1200" dirty="0"/>
        </a:p>
      </dsp:txBody>
      <dsp:txXfrm>
        <a:off x="68680" y="1583953"/>
        <a:ext cx="6793808" cy="1269565"/>
      </dsp:txXfrm>
    </dsp:sp>
    <dsp:sp modelId="{5366FDB3-EF8A-451B-9A85-E623D436AB81}">
      <dsp:nvSpPr>
        <dsp:cNvPr id="0" name=""/>
        <dsp:cNvSpPr/>
      </dsp:nvSpPr>
      <dsp:spPr>
        <a:xfrm>
          <a:off x="0" y="2979798"/>
          <a:ext cx="6931168" cy="14069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It basically flattens the data.</a:t>
          </a:r>
          <a:endParaRPr lang="en-US" sz="2000" kern="1200" dirty="0"/>
        </a:p>
      </dsp:txBody>
      <dsp:txXfrm>
        <a:off x="68680" y="3048478"/>
        <a:ext cx="6793808" cy="126956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FBF25B-F028-4339-8CC0-D62FCED33747}">
      <dsp:nvSpPr>
        <dsp:cNvPr id="0" name=""/>
        <dsp:cNvSpPr/>
      </dsp:nvSpPr>
      <dsp:spPr>
        <a:xfrm>
          <a:off x="0" y="0"/>
          <a:ext cx="8120453" cy="2613443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Separate Contacts of employees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db.employees.aggregate( [ { $unwind : "$contacts" } ] ).pretty()</a:t>
          </a:r>
          <a:endParaRPr lang="en-US" sz="2000" kern="1200" dirty="0"/>
        </a:p>
      </dsp:txBody>
      <dsp:txXfrm>
        <a:off x="127578" y="127578"/>
        <a:ext cx="7865297" cy="23582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#2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5/8/layout/default#4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#3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 smtClean="0"/>
              <a:t>Page XX-#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&lt;Course Name&gt;				&lt;Lesson Name&gt;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ongodb.com/manual/reference/operator/aggregation/match/#pipe._S_match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ongodb.com/manual/reference/glossary/#term-document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docs.mongodb.com/manual/reference/operator/aggregation/skip/#pipe._S_skip" TargetMode="External"/><Relationship Id="rId4" Type="http://schemas.openxmlformats.org/officeDocument/2006/relationships/hyperlink" Target="https://docs.mongodb.com/manual/reference/glossary/#term-pipeline" TargetMode="Externa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docs.mongodb.org/manual/reference/method/db.collection.save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ongodb.com/manual/reference/operator/aggregation/max/#grp._S_max" TargetMode="External"/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docs.mongodb.com/manual/reference/operator/aggregation/project/#pipe._S_project" TargetMode="External"/><Relationship Id="rId5" Type="http://schemas.openxmlformats.org/officeDocument/2006/relationships/hyperlink" Target="https://docs.mongodb.com/manual/reference/operator/aggregation/group/#pipe._S_group" TargetMode="External"/><Relationship Id="rId4" Type="http://schemas.openxmlformats.org/officeDocument/2006/relationships/hyperlink" Target="https://docs.mongodb.com/manual/reference/bson-type-comparison-order/#bson-types-comparison-order" TargetMode="Externa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ongodb.com/manual/reference/operator/aggregation/push/#grp._S_push" TargetMode="External"/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docs.mongodb.com/manual/meta/aggregation-quick-reference/#aggregation-expressions" TargetMode="External"/><Relationship Id="rId4" Type="http://schemas.openxmlformats.org/officeDocument/2006/relationships/hyperlink" Target="https://docs.mongodb.com/manual/reference/operator/aggregation/group/#pipe._S_group" TargetMode="External"/></Relationships>
</file>

<file path=ppt/notesSlides/_rels/notes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ongodb.com/manual/reference/operator/aggregation/addToSet/#grp._S_addToSet" TargetMode="External"/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docs.mongodb.com/manual/reference/operator/aggregation/group/#pipe._S_group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30275" y="741363"/>
            <a:ext cx="4937125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26740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$match- </a:t>
            </a:r>
          </a:p>
          <a:p>
            <a:r>
              <a:rPr lang="en-US" dirty="0" smtClean="0"/>
              <a:t>Filters the documents to pass only the documents that match the specified condition(s) to the next pipeline stage.</a:t>
            </a:r>
          </a:p>
          <a:p>
            <a:r>
              <a:rPr lang="en-US" dirty="0" smtClean="0"/>
              <a:t>The </a:t>
            </a:r>
            <a:r>
              <a:rPr lang="en-US" dirty="0" smtClean="0">
                <a:hlinkClick r:id="rId3" tooltip="$match"/>
              </a:rPr>
              <a:t>$match</a:t>
            </a:r>
            <a:r>
              <a:rPr lang="en-US" dirty="0" smtClean="0"/>
              <a:t> stage has the following prototype form:</a:t>
            </a:r>
          </a:p>
          <a:p>
            <a:r>
              <a:rPr lang="en-US" dirty="0" smtClean="0"/>
              <a:t>	-{ $match: { &lt;query&gt; } } </a:t>
            </a:r>
          </a:p>
          <a:p>
            <a:r>
              <a:rPr lang="en-US" dirty="0" smtClean="0">
                <a:hlinkClick r:id="rId3" tooltip="$match"/>
              </a:rPr>
              <a:t>$match</a:t>
            </a:r>
            <a:r>
              <a:rPr lang="en-US" dirty="0" smtClean="0"/>
              <a:t> takes a document that specifies the query conditions</a:t>
            </a:r>
          </a:p>
          <a:p>
            <a:endParaRPr lang="en-US" dirty="0" smtClean="0"/>
          </a:p>
          <a:p>
            <a:r>
              <a:rPr lang="en-US" dirty="0" smtClean="0"/>
              <a:t>----------------------------------------------------------------------------</a:t>
            </a:r>
          </a:p>
          <a:p>
            <a:r>
              <a:rPr lang="en-US" dirty="0" smtClean="0"/>
              <a:t>-Find  employees with female gender</a:t>
            </a:r>
          </a:p>
          <a:p>
            <a:r>
              <a:rPr lang="en-US" dirty="0" smtClean="0"/>
              <a:t>	&gt; db.employees.aggregate([{ $match: {"gender": "female" }}]);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9641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$unwind-</a:t>
            </a:r>
          </a:p>
          <a:p>
            <a:r>
              <a:rPr lang="en-US" dirty="0" smtClean="0"/>
              <a:t>	Deconstructs an array field from the input documents to output a document for </a:t>
            </a:r>
            <a:r>
              <a:rPr lang="en-US" i="1" dirty="0" smtClean="0"/>
              <a:t>each</a:t>
            </a:r>
            <a:r>
              <a:rPr lang="en-US" dirty="0" smtClean="0"/>
              <a:t> element. </a:t>
            </a:r>
          </a:p>
          <a:p>
            <a:r>
              <a:rPr lang="en-US" dirty="0" smtClean="0"/>
              <a:t>	Each output document is the input document with the value of the array field replaced by the element.	</a:t>
            </a:r>
          </a:p>
          <a:p>
            <a:r>
              <a:rPr lang="en-US" dirty="0" smtClean="0"/>
              <a:t>	{ $unwind: &lt;field path&gt; } </a:t>
            </a:r>
          </a:p>
          <a:p>
            <a:r>
              <a:rPr lang="en-US" b="1" dirty="0" smtClean="0"/>
              <a:t>Points to remember: </a:t>
            </a:r>
            <a:endParaRPr lang="en-US" dirty="0" smtClean="0"/>
          </a:p>
          <a:p>
            <a:r>
              <a:rPr lang="en-US" dirty="0" smtClean="0"/>
              <a:t>If the value of a field is not an array, db.collection.aggregate() generates an error.</a:t>
            </a:r>
          </a:p>
          <a:p>
            <a:r>
              <a:rPr lang="en-US" dirty="0" smtClean="0"/>
              <a:t>If the specified path for a field does not exist in an input document, the pipeline ignores the input document and displaying no output.</a:t>
            </a:r>
          </a:p>
          <a:p>
            <a:r>
              <a:rPr lang="en-US" dirty="0" smtClean="0"/>
              <a:t>If the array is empty in an input document, the pipeline ignores the input document and displaying no output.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db.employees.aggregate( [ { $unwind : "$contacts" } ] ).pretty()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2090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pPr lvl="0"/>
            <a:r>
              <a:rPr lang="en-US" sz="1000" dirty="0" smtClean="0"/>
              <a:t>Separate Contacts of employees</a:t>
            </a:r>
          </a:p>
          <a:p>
            <a:pPr lvl="0"/>
            <a:r>
              <a:rPr lang="en-US" sz="1000" dirty="0" smtClean="0"/>
              <a:t>db.employees.aggregate( [ { $unwind : "$contacts" } ] ).pretty()</a:t>
            </a:r>
          </a:p>
          <a:p>
            <a:r>
              <a:rPr lang="en-US" dirty="0" smtClean="0"/>
              <a:t>-------------------OutPut----------------------------------------------</a:t>
            </a:r>
          </a:p>
          <a:p>
            <a:r>
              <a:rPr lang="en-US" dirty="0" smtClean="0"/>
              <a:t>{</a:t>
            </a:r>
          </a:p>
          <a:p>
            <a:r>
              <a:rPr lang="en-US" dirty="0" smtClean="0"/>
              <a:t>        "_id" : 6,</a:t>
            </a:r>
          </a:p>
          <a:p>
            <a:r>
              <a:rPr lang="en-US" dirty="0" smtClean="0"/>
              <a:t>        "firstname" : "Uma",</a:t>
            </a:r>
          </a:p>
          <a:p>
            <a:r>
              <a:rPr lang="en-US" dirty="0" smtClean="0"/>
              <a:t>        "lastname" : "P",</a:t>
            </a:r>
          </a:p>
          <a:p>
            <a:r>
              <a:rPr lang="en-US" dirty="0" smtClean="0"/>
              <a:t>        "deptinfo" : {</a:t>
            </a:r>
          </a:p>
          <a:p>
            <a:r>
              <a:rPr lang="en-US" dirty="0" smtClean="0"/>
              <a:t>                "_id" : 30,</a:t>
            </a:r>
          </a:p>
          <a:p>
            <a:r>
              <a:rPr lang="en-US" dirty="0" smtClean="0"/>
              <a:t>                "deptname" : "java"</a:t>
            </a:r>
          </a:p>
          <a:p>
            <a:r>
              <a:rPr lang="en-US" dirty="0" smtClean="0"/>
              <a:t>        },</a:t>
            </a:r>
          </a:p>
          <a:p>
            <a:r>
              <a:rPr lang="en-US" dirty="0" smtClean="0"/>
              <a:t>        "mgrcode" : 8,</a:t>
            </a:r>
          </a:p>
          <a:p>
            <a:r>
              <a:rPr lang="en-US" dirty="0" smtClean="0"/>
              <a:t>        "gender" : "female",</a:t>
            </a:r>
          </a:p>
          <a:p>
            <a:r>
              <a:rPr lang="en-US" dirty="0" smtClean="0"/>
              <a:t>        "age" : 53,</a:t>
            </a:r>
          </a:p>
          <a:p>
            <a:r>
              <a:rPr lang="en-US" dirty="0" smtClean="0"/>
              <a:t>        "salary" : 300000,</a:t>
            </a:r>
          </a:p>
          <a:p>
            <a:r>
              <a:rPr lang="en-US" dirty="0" smtClean="0"/>
              <a:t>        "address" : {</a:t>
            </a:r>
          </a:p>
          <a:p>
            <a:r>
              <a:rPr lang="en-US" dirty="0" smtClean="0"/>
              <a:t>                "street" : "MgRoad",</a:t>
            </a:r>
          </a:p>
          <a:p>
            <a:r>
              <a:rPr lang="en-US" dirty="0" smtClean="0"/>
              <a:t>                "city" : "Mysoor",</a:t>
            </a:r>
          </a:p>
          <a:p>
            <a:r>
              <a:rPr lang="en-US" dirty="0" smtClean="0"/>
              <a:t>                "state" : "KA"</a:t>
            </a:r>
          </a:p>
          <a:p>
            <a:r>
              <a:rPr lang="en-US" dirty="0" smtClean="0"/>
              <a:t>        },</a:t>
            </a:r>
          </a:p>
          <a:p>
            <a:r>
              <a:rPr lang="en-US" dirty="0" smtClean="0"/>
              <a:t>        "contacts" : "9430087878",</a:t>
            </a:r>
          </a:p>
          <a:p>
            <a:r>
              <a:rPr lang="en-US" dirty="0" smtClean="0"/>
              <a:t>        "annlGrossSal" : [</a:t>
            </a:r>
          </a:p>
          <a:p>
            <a:r>
              <a:rPr lang="en-US" dirty="0" smtClean="0"/>
              <a:t>                {</a:t>
            </a:r>
          </a:p>
          <a:p>
            <a:r>
              <a:rPr lang="en-US" dirty="0" smtClean="0"/>
              <a:t>                        "year" : 2001,</a:t>
            </a:r>
          </a:p>
          <a:p>
            <a:r>
              <a:rPr lang="en-US" dirty="0" smtClean="0"/>
              <a:t>                        "gross" : "900000</a:t>
            </a:r>
          </a:p>
          <a:p>
            <a:r>
              <a:rPr lang="en-US" dirty="0" smtClean="0"/>
              <a:t>                },</a:t>
            </a:r>
          </a:p>
          <a:p>
            <a:r>
              <a:rPr lang="en-US" dirty="0" smtClean="0"/>
              <a:t>                {</a:t>
            </a:r>
          </a:p>
          <a:p>
            <a:r>
              <a:rPr lang="en-US" dirty="0" smtClean="0"/>
              <a:t>                        "year" : 2002,</a:t>
            </a:r>
          </a:p>
          <a:p>
            <a:r>
              <a:rPr lang="en-US" dirty="0" smtClean="0"/>
              <a:t>                        "gross" : "300000</a:t>
            </a:r>
          </a:p>
          <a:p>
            <a:r>
              <a:rPr lang="en-US" dirty="0" smtClean="0"/>
              <a:t>                },</a:t>
            </a:r>
          </a:p>
          <a:p>
            <a:r>
              <a:rPr lang="en-US" dirty="0" smtClean="0"/>
              <a:t>                {</a:t>
            </a:r>
          </a:p>
          <a:p>
            <a:r>
              <a:rPr lang="en-US" dirty="0" smtClean="0"/>
              <a:t>                        "year" : 2003,</a:t>
            </a:r>
          </a:p>
          <a:p>
            <a:r>
              <a:rPr lang="en-US" dirty="0" smtClean="0"/>
              <a:t>                        "gross" : "200000</a:t>
            </a:r>
          </a:p>
          <a:p>
            <a:r>
              <a:rPr lang="en-US" dirty="0" smtClean="0"/>
              <a:t>                }</a:t>
            </a:r>
          </a:p>
          <a:p>
            <a:r>
              <a:rPr lang="en-US" dirty="0" smtClean="0"/>
              <a:t>        ]</a:t>
            </a:r>
          </a:p>
          <a:p>
            <a:r>
              <a:rPr lang="en-US" dirty="0" smtClean="0"/>
              <a:t>}</a:t>
            </a:r>
          </a:p>
          <a:p>
            <a:r>
              <a:rPr lang="en-US" dirty="0" smtClean="0"/>
              <a:t>{</a:t>
            </a:r>
          </a:p>
          <a:p>
            <a:r>
              <a:rPr lang="en-US" dirty="0" smtClean="0"/>
              <a:t>        "_id" : 6,</a:t>
            </a:r>
          </a:p>
          <a:p>
            <a:r>
              <a:rPr lang="en-US" dirty="0" smtClean="0"/>
              <a:t>        "firstname" : "Uma",</a:t>
            </a:r>
          </a:p>
          <a:p>
            <a:r>
              <a:rPr lang="en-US" dirty="0" smtClean="0"/>
              <a:t>        "lastname" : "P",</a:t>
            </a:r>
          </a:p>
          <a:p>
            <a:r>
              <a:rPr lang="en-US" dirty="0" smtClean="0"/>
              <a:t>        "deptinfo" : {</a:t>
            </a:r>
          </a:p>
          <a:p>
            <a:r>
              <a:rPr lang="en-US" dirty="0" smtClean="0"/>
              <a:t>                "_id" : 30,</a:t>
            </a:r>
          </a:p>
          <a:p>
            <a:r>
              <a:rPr lang="en-US" dirty="0" smtClean="0"/>
              <a:t>                "deptname" : "java"</a:t>
            </a:r>
          </a:p>
          <a:p>
            <a:r>
              <a:rPr lang="en-US" dirty="0" smtClean="0"/>
              <a:t>        },</a:t>
            </a:r>
          </a:p>
          <a:p>
            <a:r>
              <a:rPr lang="en-US" dirty="0" smtClean="0"/>
              <a:t>        "mgrcode" : 8,</a:t>
            </a:r>
          </a:p>
          <a:p>
            <a:r>
              <a:rPr lang="en-US" dirty="0" smtClean="0"/>
              <a:t>        "gender" : "female",</a:t>
            </a:r>
          </a:p>
          <a:p>
            <a:r>
              <a:rPr lang="en-US" dirty="0" smtClean="0"/>
              <a:t>        "age" : 53,</a:t>
            </a:r>
          </a:p>
          <a:p>
            <a:r>
              <a:rPr lang="en-US" dirty="0" smtClean="0"/>
              <a:t>        "salary" : 300000,</a:t>
            </a:r>
          </a:p>
          <a:p>
            <a:r>
              <a:rPr lang="en-US" dirty="0" smtClean="0"/>
              <a:t>        "address" : {</a:t>
            </a:r>
          </a:p>
          <a:p>
            <a:r>
              <a:rPr lang="en-US" dirty="0" smtClean="0"/>
              <a:t>                "street" : "MgRoad",</a:t>
            </a:r>
          </a:p>
          <a:p>
            <a:r>
              <a:rPr lang="en-US" dirty="0" smtClean="0"/>
              <a:t>                "city" : "Mysoor",</a:t>
            </a:r>
          </a:p>
          <a:p>
            <a:r>
              <a:rPr lang="en-US" dirty="0" smtClean="0"/>
              <a:t>                "state" : "KA"</a:t>
            </a:r>
          </a:p>
          <a:p>
            <a:r>
              <a:rPr lang="en-US" dirty="0" smtClean="0"/>
              <a:t>        },</a:t>
            </a:r>
          </a:p>
          <a:p>
            <a:r>
              <a:rPr lang="en-US" dirty="0" smtClean="0"/>
              <a:t>        "contacts" : "011-888888",</a:t>
            </a:r>
          </a:p>
          <a:p>
            <a:r>
              <a:rPr lang="en-US" dirty="0" smtClean="0"/>
              <a:t>        "annlGrossSal" : [</a:t>
            </a:r>
          </a:p>
          <a:p>
            <a:r>
              <a:rPr lang="en-US" dirty="0" smtClean="0"/>
              <a:t>                {</a:t>
            </a:r>
          </a:p>
          <a:p>
            <a:r>
              <a:rPr lang="en-US" dirty="0" smtClean="0"/>
              <a:t>                        "year" : 2001,</a:t>
            </a:r>
          </a:p>
          <a:p>
            <a:r>
              <a:rPr lang="en-US" dirty="0" smtClean="0"/>
              <a:t>                        "gross" : "900000</a:t>
            </a:r>
          </a:p>
          <a:p>
            <a:r>
              <a:rPr lang="en-US" dirty="0" smtClean="0"/>
              <a:t>                },</a:t>
            </a:r>
          </a:p>
          <a:p>
            <a:r>
              <a:rPr lang="en-US" dirty="0" smtClean="0"/>
              <a:t>                {</a:t>
            </a:r>
          </a:p>
          <a:p>
            <a:r>
              <a:rPr lang="en-US" dirty="0" smtClean="0"/>
              <a:t>                        "year" : 2002,</a:t>
            </a:r>
          </a:p>
          <a:p>
            <a:r>
              <a:rPr lang="en-US" dirty="0" smtClean="0"/>
              <a:t>                        "gross" : "300000</a:t>
            </a:r>
          </a:p>
          <a:p>
            <a:r>
              <a:rPr lang="en-US" dirty="0" smtClean="0"/>
              <a:t>                },</a:t>
            </a:r>
          </a:p>
          <a:p>
            <a:r>
              <a:rPr lang="en-US" dirty="0" smtClean="0"/>
              <a:t>                {</a:t>
            </a:r>
          </a:p>
          <a:p>
            <a:r>
              <a:rPr lang="en-US" dirty="0" smtClean="0"/>
              <a:t>                        "year" : 2003,</a:t>
            </a:r>
          </a:p>
          <a:p>
            <a:r>
              <a:rPr lang="en-US" dirty="0" smtClean="0"/>
              <a:t>                        "gross" : "200000</a:t>
            </a:r>
          </a:p>
          <a:p>
            <a:r>
              <a:rPr lang="en-US" dirty="0" smtClean="0"/>
              <a:t>                }</a:t>
            </a:r>
          </a:p>
          <a:p>
            <a:r>
              <a:rPr lang="en-US" dirty="0" smtClean="0"/>
              <a:t>        ]</a:t>
            </a:r>
          </a:p>
          <a:p>
            <a:r>
              <a:rPr lang="en-US" dirty="0" smtClean="0"/>
              <a:t>}	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3161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Grouping Documents</a:t>
            </a:r>
          </a:p>
          <a:p>
            <a:r>
              <a:rPr lang="en-US" dirty="0" smtClean="0"/>
              <a:t>Once we've filtered out the documents we don't want, we can start grouping together the ones that </a:t>
            </a:r>
          </a:p>
          <a:p>
            <a:r>
              <a:rPr lang="en-US" dirty="0" smtClean="0"/>
              <a:t>we do into useful subsets. We can also use groups to perform operations across a common field in all documents, </a:t>
            </a:r>
          </a:p>
          <a:p>
            <a:r>
              <a:rPr lang="en-US" dirty="0" smtClean="0"/>
              <a:t>such as calculating the sum of a set of transactions and counting documents.</a:t>
            </a:r>
          </a:p>
          <a:p>
            <a:endParaRPr lang="en-US" dirty="0" smtClean="0"/>
          </a:p>
          <a:p>
            <a:r>
              <a:rPr lang="en-US" dirty="0" smtClean="0"/>
              <a:t>-Show Count Of Male and Female from employees</a:t>
            </a:r>
          </a:p>
          <a:p>
            <a:r>
              <a:rPr lang="en-US" dirty="0" smtClean="0"/>
              <a:t>		-&gt;db.employees.aggregate([{$group : {_id : "$gender", NoOfEmp : {$sum : 1}}}])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-Show Count Of Only Female from employees	 collections</a:t>
            </a:r>
          </a:p>
          <a:p>
            <a:r>
              <a:rPr lang="en-US" dirty="0" smtClean="0"/>
              <a:t>		db.employees.aggregate([{$match:{gender:"female"}},{$group:{_id: null,count:{$sum:1}}}])</a:t>
            </a:r>
          </a:p>
          <a:p>
            <a:endParaRPr lang="en-US" dirty="0" smtClean="0"/>
          </a:p>
          <a:p>
            <a:r>
              <a:rPr lang="en-US" dirty="0" smtClean="0"/>
              <a:t>		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4329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0381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$project</a:t>
            </a:r>
            <a:r>
              <a:rPr lang="en-US" dirty="0" smtClean="0"/>
              <a:t> − Used to select some specific fields from a collection.</a:t>
            </a:r>
          </a:p>
          <a:p>
            <a:r>
              <a:rPr lang="en-US" dirty="0" smtClean="0"/>
              <a:t>The $project function in MongoDB passes along the documents with only the </a:t>
            </a:r>
          </a:p>
          <a:p>
            <a:r>
              <a:rPr lang="en-US" dirty="0" smtClean="0"/>
              <a:t>specified fields to the next stage in the pipeline. This may be the existing fields from the input documents or newly computed fields.</a:t>
            </a:r>
          </a:p>
          <a:p>
            <a:r>
              <a:rPr lang="en-US" b="1" dirty="0" smtClean="0"/>
              <a:t>Syntax:</a:t>
            </a:r>
            <a:endParaRPr lang="en-US" dirty="0" smtClean="0"/>
          </a:p>
          <a:p>
            <a:r>
              <a:rPr lang="en-US" dirty="0" smtClean="0"/>
              <a:t>{ $project: { &lt;specifications&gt; </a:t>
            </a:r>
          </a:p>
          <a:p>
            <a:r>
              <a:rPr lang="en-US" dirty="0" smtClean="0"/>
              <a:t>The specification for $project command contain the inclusion of fields, the suppression of the _id field, the addition of new fields, and the resetting the values of existing fields.</a:t>
            </a:r>
          </a:p>
          <a:p>
            <a:r>
              <a:rPr lang="en-US" b="1" dirty="0" smtClean="0"/>
              <a:t>Parameters:</a:t>
            </a:r>
            <a:endParaRPr lang="en-US" dirty="0" smtClean="0"/>
          </a:p>
          <a:p>
            <a:r>
              <a:rPr lang="en-US" dirty="0" smtClean="0"/>
              <a:t>Specification Description&lt;field&gt;: &lt;1 or true&gt;Specify the inclusion of a field. _id: &lt;0 or false&gt;Specify the suppression of the _id field.&lt;field&gt;: &lt;expression&gt;Add a new field or reset the value of an existing field.</a:t>
            </a:r>
          </a:p>
          <a:p>
            <a:r>
              <a:rPr lang="en-US" b="1" dirty="0" smtClean="0"/>
              <a:t>Points to remember:</a:t>
            </a:r>
            <a:endParaRPr lang="en-US" dirty="0" smtClean="0"/>
          </a:p>
          <a:p>
            <a:r>
              <a:rPr lang="en-US" dirty="0" smtClean="0"/>
              <a:t>By default, the _id field is included in the output documents. To exclude the _id field from the output documents, you must explicitly specify the suppression of the _id field in $project.</a:t>
            </a:r>
          </a:p>
          <a:p>
            <a:r>
              <a:rPr lang="en-US" dirty="0" smtClean="0"/>
              <a:t>A field that does not exist in the document are going to include, the $project ignores that field inclusion; </a:t>
            </a:r>
          </a:p>
          <a:p>
            <a:r>
              <a:rPr lang="en-US" dirty="0" smtClean="0"/>
              <a:t>A new field can be added and value of an existing field can be reset by specifying the field name and se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3598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-Convert lastname  in Uppercase and sort in ascending order</a:t>
            </a:r>
          </a:p>
          <a:p>
            <a:r>
              <a:rPr lang="en-US" dirty="0" smtClean="0"/>
              <a:t>&gt;db.employees.aggregate([{ $project:{lname:{$toUpper:"$lastname"},_id:0}},{$sort:{lname:1}}])	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671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$skip-	</a:t>
            </a:r>
          </a:p>
          <a:p>
            <a:r>
              <a:rPr lang="en-US" dirty="0" smtClean="0"/>
              <a:t>	Skips over the specified number of </a:t>
            </a:r>
            <a:r>
              <a:rPr lang="en-US" dirty="0" smtClean="0">
                <a:hlinkClick r:id="rId3"/>
              </a:rPr>
              <a:t>documents</a:t>
            </a:r>
            <a:r>
              <a:rPr lang="en-US" dirty="0" smtClean="0"/>
              <a:t> that pass into the stage and </a:t>
            </a:r>
          </a:p>
          <a:p>
            <a:r>
              <a:rPr lang="en-US" dirty="0" smtClean="0"/>
              <a:t>	passes the remaining documents to the next stage in the </a:t>
            </a:r>
            <a:r>
              <a:rPr lang="en-US" dirty="0" smtClean="0">
                <a:hlinkClick r:id="rId4"/>
              </a:rPr>
              <a:t>pipeline</a:t>
            </a:r>
            <a:r>
              <a:rPr lang="en-US" dirty="0" smtClean="0"/>
              <a:t>.</a:t>
            </a:r>
          </a:p>
          <a:p>
            <a:r>
              <a:rPr lang="en-US" dirty="0" smtClean="0"/>
              <a:t>	The </a:t>
            </a:r>
            <a:r>
              <a:rPr lang="en-US" dirty="0" smtClean="0">
                <a:hlinkClick r:id="rId5" tooltip="$skip"/>
              </a:rPr>
              <a:t>$skip</a:t>
            </a:r>
            <a:r>
              <a:rPr lang="en-US" dirty="0" smtClean="0"/>
              <a:t> stage has the following prototype form:</a:t>
            </a:r>
          </a:p>
          <a:p>
            <a:r>
              <a:rPr lang="en-US" dirty="0" smtClean="0"/>
              <a:t>	{ $skip: &lt;positive integer&gt; } </a:t>
            </a:r>
          </a:p>
          <a:p>
            <a:endParaRPr lang="en-US" dirty="0" smtClean="0"/>
          </a:p>
          <a:p>
            <a:r>
              <a:rPr lang="en-US" dirty="0" smtClean="0"/>
              <a:t>Ex.-db.employees.aggregate( { $skip : 5 } ); </a:t>
            </a:r>
          </a:p>
          <a:p>
            <a:r>
              <a:rPr lang="en-US" dirty="0" smtClean="0"/>
              <a:t>----------------------------------------------------------------------------</a:t>
            </a:r>
          </a:p>
          <a:p>
            <a:r>
              <a:rPr lang="en-US" dirty="0" smtClean="0"/>
              <a:t>The limit() function in MongoDB is used to specify the maximum number of results to be returned. </a:t>
            </a:r>
          </a:p>
          <a:p>
            <a:r>
              <a:rPr lang="en-US" dirty="0" smtClean="0"/>
              <a:t>Only one parameter is required for this function.to return the number of the desired result.</a:t>
            </a:r>
          </a:p>
          <a:p>
            <a:r>
              <a:rPr lang="en-US" dirty="0" smtClean="0"/>
              <a:t>Sometimes it is required to return a certain number of results after a certain number of documents. </a:t>
            </a:r>
          </a:p>
          <a:p>
            <a:r>
              <a:rPr lang="en-US" dirty="0" smtClean="0"/>
              <a:t>The skip() can do this job.</a:t>
            </a:r>
          </a:p>
          <a:p>
            <a:r>
              <a:rPr lang="en-US" dirty="0" smtClean="0"/>
              <a:t>---------------------------------------------------------</a:t>
            </a:r>
          </a:p>
          <a:p>
            <a:r>
              <a:rPr lang="en-US" dirty="0" smtClean="0"/>
              <a:t>&gt; db.employees.aggregate({$limit : 5 }).pretty()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41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9343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715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hu-HU" dirty="0" smtClean="0">
                <a:latin typeface="Arial" pitchFamily="34" charset="0"/>
              </a:rPr>
              <a:t>Create</a:t>
            </a:r>
          </a:p>
          <a:p>
            <a:pPr lvl="1" eaLnBrk="1" hangingPunct="1">
              <a:buFontTx/>
              <a:buChar char="•"/>
            </a:pPr>
            <a:r>
              <a:rPr lang="hu-HU" dirty="0" smtClean="0">
                <a:latin typeface="Arial" pitchFamily="34" charset="0"/>
              </a:rPr>
              <a:t>The field name _id is reserved for use as a primary key; its value must be unique in the collection, is immutable, and may be of any type other than an array. </a:t>
            </a:r>
          </a:p>
          <a:p>
            <a:pPr lvl="1" eaLnBrk="1" hangingPunct="1">
              <a:buFontTx/>
              <a:buChar char="•"/>
            </a:pPr>
            <a:r>
              <a:rPr lang="hu-HU" dirty="0" smtClean="0">
                <a:latin typeface="Arial" pitchFamily="34" charset="0"/>
              </a:rPr>
              <a:t>The field names </a:t>
            </a:r>
            <a:r>
              <a:rPr lang="hu-HU" b="1" dirty="0" smtClean="0">
                <a:latin typeface="Arial" pitchFamily="34" charset="0"/>
              </a:rPr>
              <a:t>cannot</a:t>
            </a:r>
            <a:r>
              <a:rPr lang="hu-HU" dirty="0" smtClean="0">
                <a:latin typeface="Arial" pitchFamily="34" charset="0"/>
              </a:rPr>
              <a:t> start with the $ character. </a:t>
            </a:r>
          </a:p>
          <a:p>
            <a:pPr lvl="1" eaLnBrk="1" hangingPunct="1">
              <a:buFontTx/>
              <a:buChar char="•"/>
            </a:pPr>
            <a:r>
              <a:rPr lang="hu-HU" dirty="0" smtClean="0">
                <a:latin typeface="Arial" pitchFamily="34" charset="0"/>
              </a:rPr>
              <a:t>The field names </a:t>
            </a:r>
            <a:r>
              <a:rPr lang="hu-HU" b="1" dirty="0" smtClean="0">
                <a:latin typeface="Arial" pitchFamily="34" charset="0"/>
              </a:rPr>
              <a:t>cannot</a:t>
            </a:r>
            <a:r>
              <a:rPr lang="hu-HU" dirty="0" smtClean="0">
                <a:latin typeface="Arial" pitchFamily="34" charset="0"/>
              </a:rPr>
              <a:t> contain the . character. </a:t>
            </a:r>
          </a:p>
          <a:p>
            <a:pPr eaLnBrk="1" hangingPunct="1"/>
            <a:r>
              <a:rPr lang="hu-HU" dirty="0" smtClean="0">
                <a:latin typeface="Arial" pitchFamily="34" charset="0"/>
              </a:rPr>
              <a:t>   Create with save</a:t>
            </a:r>
            <a:endParaRPr lang="en-US" dirty="0" smtClean="0">
              <a:latin typeface="Arial" pitchFamily="34" charset="0"/>
            </a:endParaRPr>
          </a:p>
          <a:p>
            <a:pPr eaLnBrk="1" hangingPunct="1"/>
            <a:r>
              <a:rPr lang="en-US" dirty="0" smtClean="0">
                <a:latin typeface="Arial" pitchFamily="34" charset="0"/>
              </a:rPr>
              <a:t>	</a:t>
            </a:r>
            <a:r>
              <a:rPr lang="hu-HU" dirty="0" smtClean="0">
                <a:latin typeface="Arial" pitchFamily="34" charset="0"/>
              </a:rPr>
              <a:t>If the &lt;document&gt; argument does not contain the _id field or contains an _id field </a:t>
            </a:r>
            <a:endParaRPr lang="en-US" dirty="0" smtClean="0">
              <a:latin typeface="Arial" pitchFamily="34" charset="0"/>
            </a:endParaRPr>
          </a:p>
          <a:p>
            <a:pPr marL="914400" lvl="2" indent="0" eaLnBrk="1" hangingPunct="1">
              <a:buFont typeface="Arial" panose="020B0604020202020204" pitchFamily="34" charset="0"/>
              <a:buNone/>
            </a:pPr>
            <a:r>
              <a:rPr lang="hu-HU" dirty="0" smtClean="0">
                <a:latin typeface="Arial" pitchFamily="34" charset="0"/>
              </a:rPr>
              <a:t>with a value not in the collection, the </a:t>
            </a:r>
            <a:r>
              <a:rPr lang="hu-HU" dirty="0" smtClean="0">
                <a:latin typeface="Arial" pitchFamily="34" charset="0"/>
                <a:hlinkClick r:id="rId3" tooltip="db.collection.save"/>
              </a:rPr>
              <a:t>save()</a:t>
            </a:r>
            <a:r>
              <a:rPr lang="hu-HU" dirty="0" smtClean="0">
                <a:latin typeface="Arial" pitchFamily="34" charset="0"/>
              </a:rPr>
              <a:t> method performs an insert of the document. </a:t>
            </a:r>
          </a:p>
          <a:p>
            <a:pPr lvl="2" eaLnBrk="1" hangingPunct="1">
              <a:buFontTx/>
              <a:buNone/>
            </a:pPr>
            <a:r>
              <a:rPr lang="hu-HU" dirty="0" smtClean="0">
                <a:latin typeface="Arial" pitchFamily="34" charset="0"/>
              </a:rPr>
              <a:t>Otherwise, the </a:t>
            </a:r>
            <a:r>
              <a:rPr lang="hu-HU" dirty="0" smtClean="0">
                <a:latin typeface="Arial" pitchFamily="34" charset="0"/>
                <a:hlinkClick r:id="rId3" tooltip="db.collection.save"/>
              </a:rPr>
              <a:t>save()</a:t>
            </a:r>
            <a:r>
              <a:rPr lang="hu-HU" dirty="0" smtClean="0">
                <a:latin typeface="Arial" pitchFamily="34" charset="0"/>
              </a:rPr>
              <a:t> method performs an update. </a:t>
            </a:r>
            <a:endParaRPr lang="en-US" dirty="0" smtClean="0">
              <a:latin typeface="Arial" pitchFamily="34" charset="0"/>
            </a:endParaRPr>
          </a:p>
          <a:p>
            <a:pPr lvl="2" eaLnBrk="1" hangingPunct="1">
              <a:buFontTx/>
              <a:buNone/>
            </a:pPr>
            <a:endParaRPr lang="hu-HU" dirty="0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83436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7264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55367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72890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2000" dirty="0" smtClean="0"/>
              <a:t>Show Count Of Male and Female from employees</a:t>
            </a:r>
          </a:p>
          <a:p>
            <a:pPr lvl="1"/>
            <a:r>
              <a:rPr lang="en-US" sz="2000" dirty="0" smtClean="0"/>
              <a:t>-&gt;db.employees.aggregate([{$group : {_id : "$gender", NoOfEmp : {$sum : 1}}}]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66000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Q1)-Find Department wise average salary</a:t>
            </a:r>
          </a:p>
          <a:p>
            <a:r>
              <a:rPr lang="en-US" dirty="0" smtClean="0"/>
              <a:t>Ans-db.employees.aggregate([{$group : {_id : "$deptinfo._id", AvgSal : {$avg : "$salary"}}}])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29475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180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u="none" dirty="0" smtClean="0"/>
              <a:t>$max¶-</a:t>
            </a:r>
          </a:p>
          <a:p>
            <a:r>
              <a:rPr lang="en-US" u="none" dirty="0" smtClean="0"/>
              <a:t>	Returns the maximum value. </a:t>
            </a:r>
            <a:r>
              <a:rPr lang="en-US" u="none" dirty="0" smtClean="0">
                <a:hlinkClick r:id="rId3" tooltip="$max"/>
              </a:rPr>
              <a:t>$</a:t>
            </a:r>
            <a:r>
              <a:rPr lang="en-US" u="sng" dirty="0" smtClean="0">
                <a:hlinkClick r:id="rId3" tooltip="$max"/>
              </a:rPr>
              <a:t>max</a:t>
            </a:r>
            <a:r>
              <a:rPr lang="en-US" u="none" dirty="0" smtClean="0"/>
              <a:t> compares both value and type, using the </a:t>
            </a:r>
            <a:r>
              <a:rPr lang="en-US" u="none" dirty="0" smtClean="0">
                <a:hlinkClick r:id="rId4"/>
              </a:rPr>
              <a:t>specified BSON comparison order</a:t>
            </a:r>
            <a:r>
              <a:rPr lang="en-US" u="none" dirty="0" smtClean="0"/>
              <a:t> for values of different types.</a:t>
            </a:r>
          </a:p>
          <a:p>
            <a:r>
              <a:rPr lang="en-US" u="none" dirty="0" smtClean="0"/>
              <a:t>	Changed in version 3.2: </a:t>
            </a:r>
            <a:r>
              <a:rPr lang="en-US" u="none" dirty="0" smtClean="0">
                <a:hlinkClick r:id="rId3" tooltip="$max"/>
              </a:rPr>
              <a:t>$max</a:t>
            </a:r>
            <a:r>
              <a:rPr lang="en-US" u="none" dirty="0" smtClean="0"/>
              <a:t> is available in the </a:t>
            </a:r>
            <a:r>
              <a:rPr lang="en-US" u="none" dirty="0" smtClean="0">
                <a:hlinkClick r:id="rId5" tooltip="$group"/>
              </a:rPr>
              <a:t>$group</a:t>
            </a:r>
            <a:r>
              <a:rPr lang="en-US" u="none" dirty="0" smtClean="0"/>
              <a:t> and </a:t>
            </a:r>
            <a:r>
              <a:rPr lang="en-US" u="none" dirty="0" smtClean="0">
                <a:hlinkClick r:id="rId6" tooltip="$project"/>
              </a:rPr>
              <a:t>$project</a:t>
            </a:r>
            <a:r>
              <a:rPr lang="en-US" u="none" dirty="0" smtClean="0"/>
              <a:t> stages.</a:t>
            </a:r>
          </a:p>
          <a:p>
            <a:r>
              <a:rPr lang="en-US" u="none" dirty="0" smtClean="0"/>
              <a:t>	 In previous versions of MongoDB, </a:t>
            </a:r>
            <a:r>
              <a:rPr lang="en-US" u="none" dirty="0" smtClean="0">
                <a:hlinkClick r:id="rId3" tooltip="$max"/>
              </a:rPr>
              <a:t>$max</a:t>
            </a:r>
            <a:r>
              <a:rPr lang="en-US" u="none" dirty="0" smtClean="0"/>
              <a:t> is available in the </a:t>
            </a:r>
            <a:r>
              <a:rPr lang="en-US" u="none" dirty="0" smtClean="0">
                <a:hlinkClick r:id="rId5" tooltip="$group"/>
              </a:rPr>
              <a:t>$group</a:t>
            </a:r>
            <a:r>
              <a:rPr lang="en-US" u="none" dirty="0" smtClean="0"/>
              <a:t> stage only.</a:t>
            </a:r>
          </a:p>
          <a:p>
            <a:r>
              <a:rPr lang="en-US" u="none" dirty="0" smtClean="0"/>
              <a:t>	When used in the </a:t>
            </a:r>
            <a:r>
              <a:rPr lang="en-US" u="none" dirty="0" smtClean="0">
                <a:hlinkClick r:id="rId5" tooltip="$group"/>
              </a:rPr>
              <a:t>$group</a:t>
            </a:r>
            <a:r>
              <a:rPr lang="en-US" u="none" dirty="0" smtClean="0"/>
              <a:t> stage, $max has the following syntax and returns the maximum value that</a:t>
            </a:r>
          </a:p>
          <a:p>
            <a:r>
              <a:rPr lang="en-US" u="none" dirty="0" smtClean="0"/>
              <a:t>	 results from applying an expression to each document in a group of documents that share the same group by key:</a:t>
            </a:r>
          </a:p>
          <a:p>
            <a:endParaRPr lang="en-US" u="none" dirty="0" smtClean="0"/>
          </a:p>
          <a:p>
            <a:r>
              <a:rPr lang="en-US" u="none" dirty="0" smtClean="0"/>
              <a:t>-----------------------------------------------------------------------------------------------------------------------------------------------</a:t>
            </a:r>
          </a:p>
          <a:p>
            <a:r>
              <a:rPr lang="en-US" u="none" dirty="0" smtClean="0"/>
              <a:t>Ex-Find Department wise Maximum salary</a:t>
            </a:r>
          </a:p>
          <a:p>
            <a:r>
              <a:rPr lang="en-US" u="none" dirty="0" smtClean="0"/>
              <a:t>		&gt; db.employees.aggregate([{$group:{_id: "$deptinfo._id",maxSal: {$max:"$salary"}}}])</a:t>
            </a:r>
          </a:p>
          <a:p>
            <a:r>
              <a:rPr lang="en-US" u="none" dirty="0" smtClean="0"/>
              <a:t>				{ "_id" : null, "maxSal" : 1200000 }</a:t>
            </a:r>
          </a:p>
          <a:p>
            <a:r>
              <a:rPr lang="en-US" u="none" dirty="0" smtClean="0"/>
              <a:t>				{ "_id" : 20, "maxSal" : 47000 }</a:t>
            </a:r>
          </a:p>
          <a:p>
            <a:r>
              <a:rPr lang="en-US" u="none" dirty="0" smtClean="0"/>
              <a:t>				{ "_id" : 40, "maxSal" : 20000 }</a:t>
            </a:r>
          </a:p>
          <a:p>
            <a:r>
              <a:rPr lang="en-US" u="none" dirty="0" smtClean="0"/>
              <a:t>				{ "_id" : 30, "maxSal" : 300000 }</a:t>
            </a:r>
          </a:p>
          <a:p>
            <a:r>
              <a:rPr lang="en-US" u="none" dirty="0" smtClean="0"/>
              <a:t>&gt;</a:t>
            </a:r>
            <a:endParaRPr lang="en-US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6220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5446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$push -</a:t>
            </a:r>
          </a:p>
          <a:p>
            <a:r>
              <a:rPr lang="en-US" baseline="0" dirty="0" smtClean="0"/>
              <a:t>     </a:t>
            </a:r>
            <a:r>
              <a:rPr lang="en-US" dirty="0" smtClean="0"/>
              <a:t>Returns an array of </a:t>
            </a:r>
            <a:r>
              <a:rPr lang="en-US" i="1" dirty="0" smtClean="0"/>
              <a:t>all</a:t>
            </a:r>
            <a:r>
              <a:rPr lang="en-US" dirty="0" smtClean="0"/>
              <a:t> values that result from applying an expression to each document in a group of documents that share the same group by key.</a:t>
            </a:r>
          </a:p>
          <a:p>
            <a:r>
              <a:rPr lang="en-US" dirty="0" smtClean="0">
                <a:hlinkClick r:id="rId3" tooltip="$push"/>
              </a:rPr>
              <a:t>$push</a:t>
            </a:r>
            <a:r>
              <a:rPr lang="en-US" dirty="0" smtClean="0"/>
              <a:t> is only available in the </a:t>
            </a:r>
            <a:r>
              <a:rPr lang="en-US" dirty="0" smtClean="0">
                <a:hlinkClick r:id="rId4" tooltip="$group"/>
              </a:rPr>
              <a:t>$group</a:t>
            </a:r>
            <a:r>
              <a:rPr lang="en-US" dirty="0" smtClean="0"/>
              <a:t> stage.</a:t>
            </a:r>
          </a:p>
          <a:p>
            <a:r>
              <a:rPr lang="en-US" dirty="0" smtClean="0"/>
              <a:t>$push has the following syntax:</a:t>
            </a:r>
          </a:p>
          <a:p>
            <a:r>
              <a:rPr lang="en-US" dirty="0" smtClean="0"/>
              <a:t>{ $push: &lt;expression&gt; } </a:t>
            </a:r>
          </a:p>
          <a:p>
            <a:r>
              <a:rPr lang="en-US" dirty="0" smtClean="0"/>
              <a:t>For more information on expressions, see </a:t>
            </a:r>
            <a:r>
              <a:rPr lang="en-US" dirty="0" smtClean="0">
                <a:hlinkClick r:id="rId5"/>
              </a:rPr>
              <a:t>Expressions</a:t>
            </a:r>
            <a:endParaRPr lang="en-US" dirty="0" smtClean="0"/>
          </a:p>
          <a:p>
            <a:r>
              <a:rPr lang="en-US" dirty="0" smtClean="0"/>
              <a:t>----------------------------------------------------------------------------------------------</a:t>
            </a:r>
          </a:p>
          <a:p>
            <a:endParaRPr lang="en-US" dirty="0" smtClean="0"/>
          </a:p>
          <a:p>
            <a:r>
              <a:rPr lang="en-US" dirty="0" smtClean="0"/>
              <a:t>Print Depart wise first and last name </a:t>
            </a:r>
          </a:p>
          <a:p>
            <a:r>
              <a:rPr lang="en-US" dirty="0" smtClean="0"/>
              <a:t>		-&gt;db.employees.aggregate([{$group:{_id:"$deptinfo._id",ListOfEmp:{$push:{fname:"$firstname",lname:"$lastname"}}}}]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19700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$addToSet-</a:t>
            </a:r>
          </a:p>
          <a:p>
            <a:r>
              <a:rPr lang="en-US" dirty="0" smtClean="0"/>
              <a:t>Returns an array of all </a:t>
            </a:r>
            <a:r>
              <a:rPr lang="en-US" i="1" dirty="0" smtClean="0"/>
              <a:t>unique</a:t>
            </a:r>
            <a:r>
              <a:rPr lang="en-US" dirty="0" smtClean="0"/>
              <a:t> values that results from applying an expression to each document in a </a:t>
            </a:r>
          </a:p>
          <a:p>
            <a:r>
              <a:rPr lang="en-US" dirty="0" smtClean="0"/>
              <a:t>group of documents that share the same group by key. Order of the elements in the output array is unspecified.</a:t>
            </a:r>
          </a:p>
          <a:p>
            <a:r>
              <a:rPr lang="en-US" dirty="0" smtClean="0">
                <a:hlinkClick r:id="rId3" tooltip="$addToSet"/>
              </a:rPr>
              <a:t>$addToSet</a:t>
            </a:r>
            <a:r>
              <a:rPr lang="en-US" dirty="0" smtClean="0"/>
              <a:t> is only available in the </a:t>
            </a:r>
            <a:r>
              <a:rPr lang="en-US" dirty="0" smtClean="0">
                <a:hlinkClick r:id="rId4" tooltip="$group"/>
              </a:rPr>
              <a:t>$group</a:t>
            </a:r>
            <a:r>
              <a:rPr lang="en-US" dirty="0" smtClean="0"/>
              <a:t> stage.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618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06907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3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7352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4782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3551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3484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6371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9862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5722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.svg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6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3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58357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40547" y="6555758"/>
            <a:ext cx="27924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20842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40547" y="6555758"/>
            <a:ext cx="27924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8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419213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3" name="Graphic 2">
            <a:extLst>
              <a:ext uri="{FF2B5EF4-FFF2-40B4-BE49-F238E27FC236}">
                <a16:creationId xmlns="" xmlns:a16="http://schemas.microsoft.com/office/drawing/2014/main" id="{02DEF159-660E-4893-A63C-7C2BB5EEB9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t="18343" b="19135"/>
          <a:stretch/>
        </p:blipFill>
        <p:spPr>
          <a:xfrm flipH="1">
            <a:off x="683568" y="-3448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18172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181528"/>
            <a:ext cx="6793764" cy="4956989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32629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0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298516" y="1109610"/>
            <a:ext cx="8074922" cy="5028908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2524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4pPr>
              <a:defRPr/>
            </a:lvl4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1759389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171254"/>
            <a:ext cx="6559484" cy="4967263"/>
          </a:xfrm>
        </p:spPr>
        <p:txBody>
          <a:bodyPr/>
          <a:lstStyle>
            <a:lvl1pPr>
              <a:defRPr b="0"/>
            </a:lvl1pPr>
            <a:lvl4pPr>
              <a:defRPr/>
            </a:lvl4pPr>
            <a:lvl5pPr marL="1657350" indent="-285750"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8017994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160980"/>
            <a:ext cx="6887389" cy="4977537"/>
          </a:xfrm>
        </p:spPr>
        <p:txBody>
          <a:bodyPr/>
          <a:lstStyle>
            <a:lvl1pPr>
              <a:defRPr b="0"/>
            </a:lvl1pPr>
            <a:lvl4pPr>
              <a:defRPr baseline="0"/>
            </a:lvl4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  <a:lvl6pPr marL="1885950" indent="-1714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6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4539956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2" y="418452"/>
            <a:ext cx="7056770" cy="42402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202076"/>
            <a:ext cx="6749556" cy="493644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  <a:lvl6pPr>
              <a:buClr>
                <a:schemeClr val="tx2"/>
              </a:buClr>
              <a:defRPr/>
            </a:lvl6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3755055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02DEF159-660E-4893-A63C-7C2BB5EEB9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8343" b="19135"/>
          <a:stretch/>
        </p:blipFill>
        <p:spPr>
          <a:xfrm flipH="1">
            <a:off x="683568" y="-3448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731645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93039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8957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4pPr>
              <a:defRPr/>
            </a:lvl4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4635184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171254"/>
            <a:ext cx="6559484" cy="4967263"/>
          </a:xfrm>
        </p:spPr>
        <p:txBody>
          <a:bodyPr/>
          <a:lstStyle>
            <a:lvl1pPr>
              <a:defRPr b="0"/>
            </a:lvl1pPr>
            <a:lvl4pPr>
              <a:defRPr/>
            </a:lvl4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4367209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160980"/>
            <a:ext cx="6887389" cy="4977537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  <a:lvl6pPr marL="1885950" indent="-1714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6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2616217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2" y="418452"/>
            <a:ext cx="7056770" cy="42402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202076"/>
            <a:ext cx="6887389" cy="493644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  <a:lvl6pPr>
              <a:buClr>
                <a:schemeClr val="tx2"/>
              </a:buClr>
              <a:defRPr/>
            </a:lvl6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658732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" name="Graphic 2">
            <a:extLst>
              <a:ext uri="{FF2B5EF4-FFF2-40B4-BE49-F238E27FC236}">
                <a16:creationId xmlns="" xmlns:a16="http://schemas.microsoft.com/office/drawing/2014/main" id="{02DEF159-660E-4893-A63C-7C2BB5EEB9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t="18343" b="19135"/>
          <a:stretch/>
        </p:blipFill>
        <p:spPr>
          <a:xfrm flipH="1">
            <a:off x="498633" y="0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8496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19" Type="http://schemas.openxmlformats.org/officeDocument/2006/relationships/image" Target="../media/image16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image" Target="../media/image4.sv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4.svg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6.sv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5" Type="http://schemas.openxmlformats.org/officeDocument/2006/relationships/image" Target="../media/image16.sv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5.xml"/><Relationship Id="rId19" Type="http://schemas.openxmlformats.org/officeDocument/2006/relationships/image" Target="../media/image16.sv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4.svg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04815"/>
            <a:ext cx="8262453" cy="40684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140432"/>
            <a:ext cx="8528209" cy="53127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</a:t>
            </a:r>
            <a:r>
              <a:rPr lang="en-US" dirty="0"/>
              <a:t>level</a:t>
            </a:r>
          </a:p>
        </p:txBody>
      </p:sp>
      <p:sp>
        <p:nvSpPr>
          <p:cNvPr id="6" name="Rectangle 5"/>
          <p:cNvSpPr/>
          <p:nvPr/>
        </p:nvSpPr>
        <p:spPr>
          <a:xfrm>
            <a:off x="9372601" y="1590548"/>
            <a:ext cx="446303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apgemini Blue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12</a:t>
            </a:r>
          </a:p>
          <a:p>
            <a:pPr marL="128588"/>
            <a:r>
              <a:rPr lang="en-US" sz="450" dirty="0"/>
              <a:t>B 173</a:t>
            </a:r>
          </a:p>
        </p:txBody>
      </p:sp>
      <p:sp>
        <p:nvSpPr>
          <p:cNvPr id="7" name="Rectangle 6"/>
          <p:cNvSpPr/>
          <p:nvPr/>
        </p:nvSpPr>
        <p:spPr>
          <a:xfrm>
            <a:off x="9818903" y="1590548"/>
            <a:ext cx="446303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</a:p>
          <a:p>
            <a:pPr marL="128588"/>
            <a:r>
              <a:rPr lang="en-US" sz="450" dirty="0"/>
              <a:t>R 18</a:t>
            </a:r>
          </a:p>
          <a:p>
            <a:pPr marL="128588"/>
            <a:r>
              <a:rPr lang="en-US" sz="450" dirty="0"/>
              <a:t>G 171</a:t>
            </a:r>
          </a:p>
          <a:p>
            <a:pPr marL="128588"/>
            <a:r>
              <a:rPr lang="en-US" sz="450" dirty="0"/>
              <a:t>B 219</a:t>
            </a:r>
          </a:p>
        </p:txBody>
      </p:sp>
      <p:sp>
        <p:nvSpPr>
          <p:cNvPr id="8" name="Rectangle 7"/>
          <p:cNvSpPr/>
          <p:nvPr/>
        </p:nvSpPr>
        <p:spPr>
          <a:xfrm>
            <a:off x="10265206" y="1590548"/>
            <a:ext cx="446303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eep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43</a:t>
            </a:r>
          </a:p>
          <a:p>
            <a:pPr marL="128588"/>
            <a:r>
              <a:rPr lang="en-US" sz="450" dirty="0"/>
              <a:t>G 10</a:t>
            </a:r>
          </a:p>
          <a:p>
            <a:pPr marL="128588"/>
            <a:r>
              <a:rPr lang="en-US" sz="450" dirty="0"/>
              <a:t>B 61</a:t>
            </a:r>
          </a:p>
        </p:txBody>
      </p:sp>
      <p:sp>
        <p:nvSpPr>
          <p:cNvPr id="9" name="Rectangle 8"/>
          <p:cNvSpPr/>
          <p:nvPr/>
        </p:nvSpPr>
        <p:spPr>
          <a:xfrm>
            <a:off x="10711508" y="1590548"/>
            <a:ext cx="446303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Tech</a:t>
            </a:r>
            <a:br>
              <a:rPr lang="en-US" sz="450" b="1" dirty="0"/>
            </a:br>
            <a:r>
              <a:rPr lang="en-US" sz="450" b="1" dirty="0"/>
              <a:t>Red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48</a:t>
            </a:r>
          </a:p>
          <a:p>
            <a:pPr marL="128588"/>
            <a:r>
              <a:rPr lang="en-US" sz="45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157811" y="1590548"/>
            <a:ext cx="446303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Zes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149</a:t>
            </a:r>
          </a:p>
          <a:p>
            <a:pPr marL="128588"/>
            <a:r>
              <a:rPr lang="en-US" sz="450" dirty="0"/>
              <a:t>G 230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372601" y="2468608"/>
            <a:ext cx="446303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Capgemini 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28</a:t>
            </a:r>
          </a:p>
          <a:p>
            <a:pPr marL="128588"/>
            <a:r>
              <a:rPr lang="en-US" sz="450" dirty="0"/>
              <a:t>G 184</a:t>
            </a:r>
          </a:p>
          <a:p>
            <a:pPr marL="128588"/>
            <a:r>
              <a:rPr lang="en-US" sz="45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818903" y="2468608"/>
            <a:ext cx="446303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36</a:t>
            </a:r>
          </a:p>
          <a:p>
            <a:pPr marL="128588"/>
            <a:r>
              <a:rPr lang="en-US" sz="450" dirty="0"/>
              <a:t>G 213</a:t>
            </a:r>
          </a:p>
          <a:p>
            <a:pPr marL="128588"/>
            <a:r>
              <a:rPr lang="en-US" sz="450" dirty="0"/>
              <a:t>B 23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5206" y="2468608"/>
            <a:ext cx="446303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09</a:t>
            </a:r>
          </a:p>
          <a:p>
            <a:pPr marL="128588"/>
            <a:r>
              <a:rPr lang="en-US" sz="450" dirty="0"/>
              <a:t>G 100</a:t>
            </a:r>
          </a:p>
          <a:p>
            <a:pPr marL="128588"/>
            <a:r>
              <a:rPr lang="en-US" sz="450" dirty="0"/>
              <a:t>B 204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711508" y="2468608"/>
            <a:ext cx="446303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Orange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39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1157811" y="2468608"/>
            <a:ext cx="446303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00</a:t>
            </a:r>
          </a:p>
          <a:p>
            <a:pPr marL="128588"/>
            <a:r>
              <a:rPr lang="en-US" sz="450" dirty="0"/>
              <a:t>G 255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265206" y="3089931"/>
            <a:ext cx="446303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26</a:t>
            </a:r>
          </a:p>
          <a:p>
            <a:pPr marL="128588"/>
            <a:r>
              <a:rPr lang="en-US" sz="450" dirty="0"/>
              <a:t>G 57</a:t>
            </a:r>
          </a:p>
          <a:p>
            <a:pPr marL="128588"/>
            <a:r>
              <a:rPr lang="en-US" sz="450" dirty="0"/>
              <a:t>B 18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1157811" y="3089931"/>
            <a:ext cx="446303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95</a:t>
            </a:r>
          </a:p>
          <a:p>
            <a:pPr marL="128588"/>
            <a:r>
              <a:rPr lang="en-US" sz="450" dirty="0"/>
              <a:t>B 12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1157811" y="4948918"/>
            <a:ext cx="446303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1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107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1157811" y="4330086"/>
            <a:ext cx="446303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5</a:t>
            </a:r>
          </a:p>
          <a:p>
            <a:pPr marL="128588"/>
            <a:r>
              <a:rPr lang="en-US" sz="450" dirty="0"/>
              <a:t>G 153</a:t>
            </a:r>
          </a:p>
          <a:p>
            <a:pPr marL="128588"/>
            <a:r>
              <a:rPr lang="en-US" sz="450" dirty="0"/>
              <a:t>B 156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157811" y="3711254"/>
            <a:ext cx="446303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</a:t>
            </a:r>
          </a:p>
          <a:p>
            <a:pPr marL="128588"/>
            <a:r>
              <a:rPr lang="en-US" sz="450" dirty="0"/>
              <a:t>G 209</a:t>
            </a:r>
          </a:p>
          <a:p>
            <a:pPr marL="128588"/>
            <a:r>
              <a:rPr lang="en-US" sz="450" dirty="0"/>
              <a:t>B 208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711508" y="3089931"/>
            <a:ext cx="446303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each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126</a:t>
            </a:r>
          </a:p>
          <a:p>
            <a:pPr marL="128588"/>
            <a:r>
              <a:rPr lang="en-US" sz="450" dirty="0"/>
              <a:t>B 131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0711508" y="3711254"/>
            <a:ext cx="446303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Light</a:t>
            </a:r>
            <a:br>
              <a:rPr lang="en-US" sz="450" b="1" dirty="0"/>
            </a:b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203</a:t>
            </a:r>
          </a:p>
          <a:p>
            <a:pPr marL="128588"/>
            <a:r>
              <a:rPr lang="en-US" sz="450" dirty="0"/>
              <a:t>G 41</a:t>
            </a:r>
          </a:p>
          <a:p>
            <a:pPr marL="128588"/>
            <a:r>
              <a:rPr lang="en-US" sz="450" dirty="0"/>
              <a:t>B 128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711508" y="4330086"/>
            <a:ext cx="446303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134</a:t>
            </a:r>
          </a:p>
          <a:p>
            <a:pPr marL="128588"/>
            <a:r>
              <a:rPr lang="en-US" sz="450" dirty="0"/>
              <a:t>G 8</a:t>
            </a:r>
          </a:p>
          <a:p>
            <a:pPr marL="128588"/>
            <a:r>
              <a:rPr lang="en-US" sz="450" dirty="0"/>
              <a:t>B 100</a:t>
            </a:r>
          </a:p>
        </p:txBody>
      </p:sp>
      <p:sp>
        <p:nvSpPr>
          <p:cNvPr id="28" name="Rectangle 27"/>
          <p:cNvSpPr/>
          <p:nvPr/>
        </p:nvSpPr>
        <p:spPr>
          <a:xfrm>
            <a:off x="9372601" y="1425206"/>
            <a:ext cx="428002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9" name="Rectangle 28"/>
          <p:cNvSpPr/>
          <p:nvPr/>
        </p:nvSpPr>
        <p:spPr>
          <a:xfrm>
            <a:off x="9372601" y="2304636"/>
            <a:ext cx="633187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265206" y="1425206"/>
            <a:ext cx="565861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265206" y="3711254"/>
            <a:ext cx="446303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71</a:t>
            </a:r>
          </a:p>
          <a:p>
            <a:pPr marL="128588"/>
            <a:r>
              <a:rPr lang="en-US" sz="450" dirty="0"/>
              <a:t>G 1</a:t>
            </a:r>
          </a:p>
          <a:p>
            <a:pPr marL="128588"/>
            <a:r>
              <a:rPr lang="en-US" sz="45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270185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3831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7663" indent="-173831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1969" indent="-1643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2402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endParaRPr lang="en-US" dirty="0" smtClean="0"/>
          </a:p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  <a:p>
            <a:pPr lvl="5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pic>
        <p:nvPicPr>
          <p:cNvPr id="6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213524" y="6528825"/>
            <a:ext cx="1820760" cy="276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645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42900" indent="-3429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3429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37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066716"/>
            <a:ext cx="8528209" cy="46974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922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332895"/>
            <a:ext cx="8262453" cy="44794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="" xmlns:asvg="http://schemas.microsoft.com/office/drawing/2016/SVG/main" r:embed="rId25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976045"/>
            <a:ext cx="8528209" cy="54771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Rectangle 4"/>
          <p:cNvSpPr/>
          <p:nvPr/>
        </p:nvSpPr>
        <p:spPr>
          <a:xfrm>
            <a:off x="9372601" y="1590548"/>
            <a:ext cx="446303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apgemini Blue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12</a:t>
            </a:r>
          </a:p>
          <a:p>
            <a:pPr marL="128588"/>
            <a:r>
              <a:rPr lang="en-US" sz="450" dirty="0"/>
              <a:t>B 173</a:t>
            </a:r>
          </a:p>
        </p:txBody>
      </p:sp>
      <p:sp>
        <p:nvSpPr>
          <p:cNvPr id="6" name="Rectangle 5"/>
          <p:cNvSpPr/>
          <p:nvPr/>
        </p:nvSpPr>
        <p:spPr>
          <a:xfrm>
            <a:off x="9818903" y="1590548"/>
            <a:ext cx="446303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</a:p>
          <a:p>
            <a:pPr marL="128588"/>
            <a:r>
              <a:rPr lang="en-US" sz="450" dirty="0"/>
              <a:t>R 18</a:t>
            </a:r>
          </a:p>
          <a:p>
            <a:pPr marL="128588"/>
            <a:r>
              <a:rPr lang="en-US" sz="450" dirty="0"/>
              <a:t>G 171</a:t>
            </a:r>
          </a:p>
          <a:p>
            <a:pPr marL="128588"/>
            <a:r>
              <a:rPr lang="en-US" sz="450" dirty="0"/>
              <a:t>B 219</a:t>
            </a:r>
          </a:p>
        </p:txBody>
      </p:sp>
      <p:sp>
        <p:nvSpPr>
          <p:cNvPr id="7" name="Rectangle 6"/>
          <p:cNvSpPr/>
          <p:nvPr/>
        </p:nvSpPr>
        <p:spPr>
          <a:xfrm>
            <a:off x="10265206" y="1590548"/>
            <a:ext cx="446303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eep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43</a:t>
            </a:r>
          </a:p>
          <a:p>
            <a:pPr marL="128588"/>
            <a:r>
              <a:rPr lang="en-US" sz="450" dirty="0"/>
              <a:t>G 10</a:t>
            </a:r>
          </a:p>
          <a:p>
            <a:pPr marL="128588"/>
            <a:r>
              <a:rPr lang="en-US" sz="450" dirty="0"/>
              <a:t>B 61</a:t>
            </a:r>
          </a:p>
        </p:txBody>
      </p:sp>
      <p:sp>
        <p:nvSpPr>
          <p:cNvPr id="8" name="Rectangle 7"/>
          <p:cNvSpPr/>
          <p:nvPr/>
        </p:nvSpPr>
        <p:spPr>
          <a:xfrm>
            <a:off x="10711508" y="1590548"/>
            <a:ext cx="446303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Tech</a:t>
            </a:r>
            <a:br>
              <a:rPr lang="en-US" sz="450" b="1" dirty="0"/>
            </a:br>
            <a:r>
              <a:rPr lang="en-US" sz="450" b="1" dirty="0"/>
              <a:t>Red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48</a:t>
            </a:r>
          </a:p>
          <a:p>
            <a:pPr marL="128588"/>
            <a:r>
              <a:rPr lang="en-US" sz="45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157811" y="1590548"/>
            <a:ext cx="446303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Zes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149</a:t>
            </a:r>
          </a:p>
          <a:p>
            <a:pPr marL="128588"/>
            <a:r>
              <a:rPr lang="en-US" sz="450" dirty="0"/>
              <a:t>G 230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372601" y="2468608"/>
            <a:ext cx="446303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Capgemini 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28</a:t>
            </a:r>
          </a:p>
          <a:p>
            <a:pPr marL="128588"/>
            <a:r>
              <a:rPr lang="en-US" sz="450" dirty="0"/>
              <a:t>G 184</a:t>
            </a:r>
          </a:p>
          <a:p>
            <a:pPr marL="128588"/>
            <a:r>
              <a:rPr lang="en-US" sz="45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818903" y="2468608"/>
            <a:ext cx="446303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36</a:t>
            </a:r>
          </a:p>
          <a:p>
            <a:pPr marL="128588"/>
            <a:r>
              <a:rPr lang="en-US" sz="450" dirty="0"/>
              <a:t>G 213</a:t>
            </a:r>
          </a:p>
          <a:p>
            <a:pPr marL="128588"/>
            <a:r>
              <a:rPr lang="en-US" sz="450" dirty="0"/>
              <a:t>B 237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265206" y="2468608"/>
            <a:ext cx="446303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09</a:t>
            </a:r>
          </a:p>
          <a:p>
            <a:pPr marL="128588"/>
            <a:r>
              <a:rPr lang="en-US" sz="450" dirty="0"/>
              <a:t>G 100</a:t>
            </a:r>
          </a:p>
          <a:p>
            <a:pPr marL="128588"/>
            <a:r>
              <a:rPr lang="en-US" sz="450" dirty="0"/>
              <a:t>B 204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11508" y="2468608"/>
            <a:ext cx="446303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Orange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39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1157811" y="2468608"/>
            <a:ext cx="446303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00</a:t>
            </a:r>
          </a:p>
          <a:p>
            <a:pPr marL="128588"/>
            <a:r>
              <a:rPr lang="en-US" sz="450" dirty="0"/>
              <a:t>G 255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5206" y="3089931"/>
            <a:ext cx="446303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26</a:t>
            </a:r>
          </a:p>
          <a:p>
            <a:pPr marL="128588"/>
            <a:r>
              <a:rPr lang="en-US" sz="450" dirty="0"/>
              <a:t>G 57</a:t>
            </a:r>
          </a:p>
          <a:p>
            <a:pPr marL="128588"/>
            <a:r>
              <a:rPr lang="en-US" sz="450" dirty="0"/>
              <a:t>B 186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1157811" y="3089931"/>
            <a:ext cx="446303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95</a:t>
            </a:r>
          </a:p>
          <a:p>
            <a:pPr marL="128588"/>
            <a:r>
              <a:rPr lang="en-US" sz="450" dirty="0"/>
              <a:t>B 12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1157811" y="4948918"/>
            <a:ext cx="446303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1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107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1157811" y="4330086"/>
            <a:ext cx="446303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5</a:t>
            </a:r>
          </a:p>
          <a:p>
            <a:pPr marL="128588"/>
            <a:r>
              <a:rPr lang="en-US" sz="450" dirty="0"/>
              <a:t>G 153</a:t>
            </a:r>
          </a:p>
          <a:p>
            <a:pPr marL="128588"/>
            <a:r>
              <a:rPr lang="en-US" sz="450" dirty="0"/>
              <a:t>B 15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1157811" y="3711254"/>
            <a:ext cx="446303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</a:t>
            </a:r>
          </a:p>
          <a:p>
            <a:pPr marL="128588"/>
            <a:r>
              <a:rPr lang="en-US" sz="450" dirty="0"/>
              <a:t>G 209</a:t>
            </a:r>
          </a:p>
          <a:p>
            <a:pPr marL="128588"/>
            <a:r>
              <a:rPr lang="en-US" sz="450" dirty="0"/>
              <a:t>B 208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0711508" y="3089931"/>
            <a:ext cx="446303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each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126</a:t>
            </a:r>
          </a:p>
          <a:p>
            <a:pPr marL="128588"/>
            <a:r>
              <a:rPr lang="en-US" sz="450" dirty="0"/>
              <a:t>B 13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0711508" y="3711254"/>
            <a:ext cx="446303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Light</a:t>
            </a:r>
            <a:br>
              <a:rPr lang="en-US" sz="450" b="1" dirty="0"/>
            </a:b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203</a:t>
            </a:r>
          </a:p>
          <a:p>
            <a:pPr marL="128588"/>
            <a:r>
              <a:rPr lang="en-US" sz="450" dirty="0"/>
              <a:t>G 41</a:t>
            </a:r>
          </a:p>
          <a:p>
            <a:pPr marL="128588"/>
            <a:r>
              <a:rPr lang="en-US" sz="450" dirty="0"/>
              <a:t>B 128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0711508" y="4330086"/>
            <a:ext cx="446303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134</a:t>
            </a:r>
          </a:p>
          <a:p>
            <a:pPr marL="128588"/>
            <a:r>
              <a:rPr lang="en-US" sz="450" dirty="0"/>
              <a:t>G 8</a:t>
            </a:r>
          </a:p>
          <a:p>
            <a:pPr marL="128588"/>
            <a:r>
              <a:rPr lang="en-US" sz="450" dirty="0"/>
              <a:t>B 100</a:t>
            </a:r>
          </a:p>
        </p:txBody>
      </p:sp>
      <p:sp>
        <p:nvSpPr>
          <p:cNvPr id="25" name="Rectangle 24"/>
          <p:cNvSpPr/>
          <p:nvPr/>
        </p:nvSpPr>
        <p:spPr>
          <a:xfrm>
            <a:off x="9372601" y="1425206"/>
            <a:ext cx="428002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6" name="Rectangle 25"/>
          <p:cNvSpPr/>
          <p:nvPr/>
        </p:nvSpPr>
        <p:spPr>
          <a:xfrm>
            <a:off x="9372601" y="2304636"/>
            <a:ext cx="633187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265206" y="1425206"/>
            <a:ext cx="565861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0265206" y="3711254"/>
            <a:ext cx="446303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71</a:t>
            </a:r>
          </a:p>
          <a:p>
            <a:pPr marL="128588"/>
            <a:r>
              <a:rPr lang="en-US" sz="450" dirty="0"/>
              <a:t>G 1</a:t>
            </a:r>
          </a:p>
          <a:p>
            <a:pPr marL="128588"/>
            <a:r>
              <a:rPr lang="en-US" sz="45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1808604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67879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1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=""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04815"/>
            <a:ext cx="8262453" cy="40684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140432"/>
            <a:ext cx="8528209" cy="53127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</a:t>
            </a:r>
            <a:r>
              <a:rPr lang="en-US" dirty="0"/>
              <a:t>level</a:t>
            </a:r>
          </a:p>
        </p:txBody>
      </p:sp>
      <p:sp>
        <p:nvSpPr>
          <p:cNvPr id="6" name="Rectangle 5"/>
          <p:cNvSpPr/>
          <p:nvPr/>
        </p:nvSpPr>
        <p:spPr>
          <a:xfrm>
            <a:off x="9372601" y="1590548"/>
            <a:ext cx="446303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apgemini Blue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12</a:t>
            </a:r>
          </a:p>
          <a:p>
            <a:pPr marL="128588"/>
            <a:r>
              <a:rPr lang="en-US" sz="450" dirty="0"/>
              <a:t>B 173</a:t>
            </a:r>
          </a:p>
        </p:txBody>
      </p:sp>
      <p:sp>
        <p:nvSpPr>
          <p:cNvPr id="7" name="Rectangle 6"/>
          <p:cNvSpPr/>
          <p:nvPr/>
        </p:nvSpPr>
        <p:spPr>
          <a:xfrm>
            <a:off x="9818903" y="1590548"/>
            <a:ext cx="446303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</a:p>
          <a:p>
            <a:pPr marL="128588"/>
            <a:r>
              <a:rPr lang="en-US" sz="450" dirty="0"/>
              <a:t>R 18</a:t>
            </a:r>
          </a:p>
          <a:p>
            <a:pPr marL="128588"/>
            <a:r>
              <a:rPr lang="en-US" sz="450" dirty="0"/>
              <a:t>G 171</a:t>
            </a:r>
          </a:p>
          <a:p>
            <a:pPr marL="128588"/>
            <a:r>
              <a:rPr lang="en-US" sz="450" dirty="0"/>
              <a:t>B 219</a:t>
            </a:r>
          </a:p>
        </p:txBody>
      </p:sp>
      <p:sp>
        <p:nvSpPr>
          <p:cNvPr id="8" name="Rectangle 7"/>
          <p:cNvSpPr/>
          <p:nvPr/>
        </p:nvSpPr>
        <p:spPr>
          <a:xfrm>
            <a:off x="10265206" y="1590548"/>
            <a:ext cx="446303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eep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43</a:t>
            </a:r>
          </a:p>
          <a:p>
            <a:pPr marL="128588"/>
            <a:r>
              <a:rPr lang="en-US" sz="450" dirty="0"/>
              <a:t>G 10</a:t>
            </a:r>
          </a:p>
          <a:p>
            <a:pPr marL="128588"/>
            <a:r>
              <a:rPr lang="en-US" sz="450" dirty="0"/>
              <a:t>B 61</a:t>
            </a:r>
          </a:p>
        </p:txBody>
      </p:sp>
      <p:sp>
        <p:nvSpPr>
          <p:cNvPr id="9" name="Rectangle 8"/>
          <p:cNvSpPr/>
          <p:nvPr/>
        </p:nvSpPr>
        <p:spPr>
          <a:xfrm>
            <a:off x="10711508" y="1590548"/>
            <a:ext cx="446303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Tech</a:t>
            </a:r>
            <a:br>
              <a:rPr lang="en-US" sz="450" b="1" dirty="0"/>
            </a:br>
            <a:r>
              <a:rPr lang="en-US" sz="450" b="1" dirty="0"/>
              <a:t>Red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48</a:t>
            </a:r>
          </a:p>
          <a:p>
            <a:pPr marL="128588"/>
            <a:r>
              <a:rPr lang="en-US" sz="45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157811" y="1590548"/>
            <a:ext cx="446303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Zes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149</a:t>
            </a:r>
          </a:p>
          <a:p>
            <a:pPr marL="128588"/>
            <a:r>
              <a:rPr lang="en-US" sz="450" dirty="0"/>
              <a:t>G 230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372601" y="2468608"/>
            <a:ext cx="446303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Capgemini 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28</a:t>
            </a:r>
          </a:p>
          <a:p>
            <a:pPr marL="128588"/>
            <a:r>
              <a:rPr lang="en-US" sz="450" dirty="0"/>
              <a:t>G 184</a:t>
            </a:r>
          </a:p>
          <a:p>
            <a:pPr marL="128588"/>
            <a:r>
              <a:rPr lang="en-US" sz="45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818903" y="2468608"/>
            <a:ext cx="446303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36</a:t>
            </a:r>
          </a:p>
          <a:p>
            <a:pPr marL="128588"/>
            <a:r>
              <a:rPr lang="en-US" sz="450" dirty="0"/>
              <a:t>G 213</a:t>
            </a:r>
          </a:p>
          <a:p>
            <a:pPr marL="128588"/>
            <a:r>
              <a:rPr lang="en-US" sz="450" dirty="0"/>
              <a:t>B 23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5206" y="2468608"/>
            <a:ext cx="446303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09</a:t>
            </a:r>
          </a:p>
          <a:p>
            <a:pPr marL="128588"/>
            <a:r>
              <a:rPr lang="en-US" sz="450" dirty="0"/>
              <a:t>G 100</a:t>
            </a:r>
          </a:p>
          <a:p>
            <a:pPr marL="128588"/>
            <a:r>
              <a:rPr lang="en-US" sz="450" dirty="0"/>
              <a:t>B 204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711508" y="2468608"/>
            <a:ext cx="446303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Orange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39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1157811" y="2468608"/>
            <a:ext cx="446303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00</a:t>
            </a:r>
          </a:p>
          <a:p>
            <a:pPr marL="128588"/>
            <a:r>
              <a:rPr lang="en-US" sz="450" dirty="0"/>
              <a:t>G 255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265206" y="3089931"/>
            <a:ext cx="446303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26</a:t>
            </a:r>
          </a:p>
          <a:p>
            <a:pPr marL="128588"/>
            <a:r>
              <a:rPr lang="en-US" sz="450" dirty="0"/>
              <a:t>G 57</a:t>
            </a:r>
          </a:p>
          <a:p>
            <a:pPr marL="128588"/>
            <a:r>
              <a:rPr lang="en-US" sz="450" dirty="0"/>
              <a:t>B 18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1157811" y="3089931"/>
            <a:ext cx="446303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95</a:t>
            </a:r>
          </a:p>
          <a:p>
            <a:pPr marL="128588"/>
            <a:r>
              <a:rPr lang="en-US" sz="450" dirty="0"/>
              <a:t>B 12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1157811" y="4948918"/>
            <a:ext cx="446303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1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107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1157811" y="4330086"/>
            <a:ext cx="446303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5</a:t>
            </a:r>
          </a:p>
          <a:p>
            <a:pPr marL="128588"/>
            <a:r>
              <a:rPr lang="en-US" sz="450" dirty="0"/>
              <a:t>G 153</a:t>
            </a:r>
          </a:p>
          <a:p>
            <a:pPr marL="128588"/>
            <a:r>
              <a:rPr lang="en-US" sz="450" dirty="0"/>
              <a:t>B 156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157811" y="3711254"/>
            <a:ext cx="446303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</a:t>
            </a:r>
          </a:p>
          <a:p>
            <a:pPr marL="128588"/>
            <a:r>
              <a:rPr lang="en-US" sz="450" dirty="0"/>
              <a:t>G 209</a:t>
            </a:r>
          </a:p>
          <a:p>
            <a:pPr marL="128588"/>
            <a:r>
              <a:rPr lang="en-US" sz="450" dirty="0"/>
              <a:t>B 208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711508" y="3089931"/>
            <a:ext cx="446303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each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126</a:t>
            </a:r>
          </a:p>
          <a:p>
            <a:pPr marL="128588"/>
            <a:r>
              <a:rPr lang="en-US" sz="450" dirty="0"/>
              <a:t>B 131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0711508" y="3711254"/>
            <a:ext cx="446303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Light</a:t>
            </a:r>
            <a:br>
              <a:rPr lang="en-US" sz="450" b="1" dirty="0"/>
            </a:b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203</a:t>
            </a:r>
          </a:p>
          <a:p>
            <a:pPr marL="128588"/>
            <a:r>
              <a:rPr lang="en-US" sz="450" dirty="0"/>
              <a:t>G 41</a:t>
            </a:r>
          </a:p>
          <a:p>
            <a:pPr marL="128588"/>
            <a:r>
              <a:rPr lang="en-US" sz="450" dirty="0"/>
              <a:t>B 128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711508" y="4330086"/>
            <a:ext cx="446303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134</a:t>
            </a:r>
          </a:p>
          <a:p>
            <a:pPr marL="128588"/>
            <a:r>
              <a:rPr lang="en-US" sz="450" dirty="0"/>
              <a:t>G 8</a:t>
            </a:r>
          </a:p>
          <a:p>
            <a:pPr marL="128588"/>
            <a:r>
              <a:rPr lang="en-US" sz="450" dirty="0"/>
              <a:t>B 100</a:t>
            </a:r>
          </a:p>
        </p:txBody>
      </p:sp>
      <p:sp>
        <p:nvSpPr>
          <p:cNvPr id="28" name="Rectangle 27"/>
          <p:cNvSpPr/>
          <p:nvPr/>
        </p:nvSpPr>
        <p:spPr>
          <a:xfrm>
            <a:off x="9372601" y="1425206"/>
            <a:ext cx="428002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9" name="Rectangle 28"/>
          <p:cNvSpPr/>
          <p:nvPr/>
        </p:nvSpPr>
        <p:spPr>
          <a:xfrm>
            <a:off x="9372601" y="2304636"/>
            <a:ext cx="633187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265206" y="1425206"/>
            <a:ext cx="565861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265206" y="3711254"/>
            <a:ext cx="446303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71</a:t>
            </a:r>
          </a:p>
          <a:p>
            <a:pPr marL="128588"/>
            <a:r>
              <a:rPr lang="en-US" sz="450" dirty="0"/>
              <a:t>G 1</a:t>
            </a:r>
          </a:p>
          <a:p>
            <a:pPr marL="128588"/>
            <a:r>
              <a:rPr lang="en-US" sz="45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2114793424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3831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7663" indent="-173831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1969" indent="-1643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2402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endParaRPr lang="en-US" dirty="0" smtClean="0"/>
          </a:p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  <a:p>
            <a:pPr lvl="5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585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42900" indent="-3429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3429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7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11" Type="http://schemas.microsoft.com/office/2007/relationships/diagramDrawing" Target="../diagrams/drawing7.xml"/><Relationship Id="rId5" Type="http://schemas.openxmlformats.org/officeDocument/2006/relationships/oleObject" Target="../embeddings/oleObject13.bin"/><Relationship Id="rId10" Type="http://schemas.openxmlformats.org/officeDocument/2006/relationships/diagramColors" Target="../diagrams/colors7.xml"/><Relationship Id="rId4" Type="http://schemas.openxmlformats.org/officeDocument/2006/relationships/notesSlide" Target="../notesSlides/notesSlide10.xml"/><Relationship Id="rId9" Type="http://schemas.openxmlformats.org/officeDocument/2006/relationships/diagramQuickStyle" Target="../diagrams/quickStyl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8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11" Type="http://schemas.microsoft.com/office/2007/relationships/diagramDrawing" Target="../diagrams/drawing8.xml"/><Relationship Id="rId5" Type="http://schemas.openxmlformats.org/officeDocument/2006/relationships/oleObject" Target="../embeddings/oleObject14.bin"/><Relationship Id="rId10" Type="http://schemas.openxmlformats.org/officeDocument/2006/relationships/diagramColors" Target="../diagrams/colors8.xml"/><Relationship Id="rId4" Type="http://schemas.openxmlformats.org/officeDocument/2006/relationships/notesSlide" Target="../notesSlides/notesSlide11.xml"/><Relationship Id="rId9" Type="http://schemas.openxmlformats.org/officeDocument/2006/relationships/diagramQuickStyle" Target="../diagrams/quickStyl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9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11" Type="http://schemas.microsoft.com/office/2007/relationships/diagramDrawing" Target="../diagrams/drawing9.xml"/><Relationship Id="rId5" Type="http://schemas.openxmlformats.org/officeDocument/2006/relationships/oleObject" Target="../embeddings/oleObject15.bin"/><Relationship Id="rId10" Type="http://schemas.openxmlformats.org/officeDocument/2006/relationships/diagramColors" Target="../diagrams/colors9.xml"/><Relationship Id="rId4" Type="http://schemas.openxmlformats.org/officeDocument/2006/relationships/notesSlide" Target="../notesSlides/notesSlide12.xml"/><Relationship Id="rId9" Type="http://schemas.openxmlformats.org/officeDocument/2006/relationships/diagramQuickStyle" Target="../diagrams/quickStyle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0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0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11" Type="http://schemas.microsoft.com/office/2007/relationships/diagramDrawing" Target="../diagrams/drawing10.xml"/><Relationship Id="rId5" Type="http://schemas.openxmlformats.org/officeDocument/2006/relationships/oleObject" Target="../embeddings/oleObject16.bin"/><Relationship Id="rId10" Type="http://schemas.openxmlformats.org/officeDocument/2006/relationships/diagramColors" Target="../diagrams/colors10.xml"/><Relationship Id="rId4" Type="http://schemas.openxmlformats.org/officeDocument/2006/relationships/notesSlide" Target="../notesSlides/notesSlide13.xml"/><Relationship Id="rId9" Type="http://schemas.openxmlformats.org/officeDocument/2006/relationships/diagramQuickStyle" Target="../diagrams/quickStyle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1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11" Type="http://schemas.microsoft.com/office/2007/relationships/diagramDrawing" Target="../diagrams/drawing11.xml"/><Relationship Id="rId5" Type="http://schemas.openxmlformats.org/officeDocument/2006/relationships/oleObject" Target="../embeddings/oleObject17.bin"/><Relationship Id="rId10" Type="http://schemas.openxmlformats.org/officeDocument/2006/relationships/diagramColors" Target="../diagrams/colors11.xml"/><Relationship Id="rId4" Type="http://schemas.openxmlformats.org/officeDocument/2006/relationships/notesSlide" Target="../notesSlides/notesSlide14.xml"/><Relationship Id="rId9" Type="http://schemas.openxmlformats.org/officeDocument/2006/relationships/diagramQuickStyle" Target="../diagrams/quickStyle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2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11" Type="http://schemas.microsoft.com/office/2007/relationships/diagramDrawing" Target="../diagrams/drawing12.xml"/><Relationship Id="rId5" Type="http://schemas.openxmlformats.org/officeDocument/2006/relationships/oleObject" Target="../embeddings/oleObject18.bin"/><Relationship Id="rId10" Type="http://schemas.openxmlformats.org/officeDocument/2006/relationships/diagramColors" Target="../diagrams/colors12.xml"/><Relationship Id="rId4" Type="http://schemas.openxmlformats.org/officeDocument/2006/relationships/notesSlide" Target="../notesSlides/notesSlide15.xml"/><Relationship Id="rId9" Type="http://schemas.openxmlformats.org/officeDocument/2006/relationships/diagramQuickStyle" Target="../diagrams/quickStyle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3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11" Type="http://schemas.microsoft.com/office/2007/relationships/diagramDrawing" Target="../diagrams/drawing13.xml"/><Relationship Id="rId5" Type="http://schemas.openxmlformats.org/officeDocument/2006/relationships/oleObject" Target="../embeddings/oleObject19.bin"/><Relationship Id="rId10" Type="http://schemas.openxmlformats.org/officeDocument/2006/relationships/diagramColors" Target="../diagrams/colors13.xml"/><Relationship Id="rId4" Type="http://schemas.openxmlformats.org/officeDocument/2006/relationships/notesSlide" Target="../notesSlides/notesSlide16.xml"/><Relationship Id="rId9" Type="http://schemas.openxmlformats.org/officeDocument/2006/relationships/diagramQuickStyle" Target="../diagrams/quickStyle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4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11" Type="http://schemas.microsoft.com/office/2007/relationships/diagramDrawing" Target="../diagrams/drawing14.xml"/><Relationship Id="rId5" Type="http://schemas.openxmlformats.org/officeDocument/2006/relationships/oleObject" Target="../embeddings/oleObject20.bin"/><Relationship Id="rId10" Type="http://schemas.openxmlformats.org/officeDocument/2006/relationships/diagramColors" Target="../diagrams/colors14.xml"/><Relationship Id="rId4" Type="http://schemas.openxmlformats.org/officeDocument/2006/relationships/notesSlide" Target="../notesSlides/notesSlide17.xml"/><Relationship Id="rId9" Type="http://schemas.openxmlformats.org/officeDocument/2006/relationships/diagramQuickStyle" Target="../diagrams/quickStyle1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5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5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11" Type="http://schemas.microsoft.com/office/2007/relationships/diagramDrawing" Target="../diagrams/drawing15.xml"/><Relationship Id="rId5" Type="http://schemas.openxmlformats.org/officeDocument/2006/relationships/oleObject" Target="../embeddings/oleObject21.bin"/><Relationship Id="rId10" Type="http://schemas.openxmlformats.org/officeDocument/2006/relationships/diagramColors" Target="../diagrams/colors15.xml"/><Relationship Id="rId4" Type="http://schemas.openxmlformats.org/officeDocument/2006/relationships/notesSlide" Target="../notesSlides/notesSlide18.xml"/><Relationship Id="rId9" Type="http://schemas.openxmlformats.org/officeDocument/2006/relationships/diagramQuickStyle" Target="../diagrams/quickStyle1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6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6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11" Type="http://schemas.microsoft.com/office/2007/relationships/diagramDrawing" Target="../diagrams/drawing16.xml"/><Relationship Id="rId5" Type="http://schemas.openxmlformats.org/officeDocument/2006/relationships/oleObject" Target="../embeddings/oleObject22.bin"/><Relationship Id="rId10" Type="http://schemas.openxmlformats.org/officeDocument/2006/relationships/diagramColors" Target="../diagrams/colors16.xml"/><Relationship Id="rId4" Type="http://schemas.openxmlformats.org/officeDocument/2006/relationships/notesSlide" Target="../notesSlides/notesSlide19.xml"/><Relationship Id="rId9" Type="http://schemas.openxmlformats.org/officeDocument/2006/relationships/diagramQuickStyle" Target="../diagrams/quickStyle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5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7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7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11" Type="http://schemas.microsoft.com/office/2007/relationships/diagramDrawing" Target="../diagrams/drawing17.xml"/><Relationship Id="rId5" Type="http://schemas.openxmlformats.org/officeDocument/2006/relationships/oleObject" Target="../embeddings/oleObject23.bin"/><Relationship Id="rId10" Type="http://schemas.openxmlformats.org/officeDocument/2006/relationships/diagramColors" Target="../diagrams/colors17.xml"/><Relationship Id="rId4" Type="http://schemas.openxmlformats.org/officeDocument/2006/relationships/notesSlide" Target="../notesSlides/notesSlide20.xml"/><Relationship Id="rId9" Type="http://schemas.openxmlformats.org/officeDocument/2006/relationships/diagramQuickStyle" Target="../diagrams/quickStyle1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8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8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11" Type="http://schemas.microsoft.com/office/2007/relationships/diagramDrawing" Target="../diagrams/drawing18.xml"/><Relationship Id="rId5" Type="http://schemas.openxmlformats.org/officeDocument/2006/relationships/oleObject" Target="../embeddings/oleObject24.bin"/><Relationship Id="rId10" Type="http://schemas.openxmlformats.org/officeDocument/2006/relationships/diagramColors" Target="../diagrams/colors18.xml"/><Relationship Id="rId4" Type="http://schemas.openxmlformats.org/officeDocument/2006/relationships/notesSlide" Target="../notesSlides/notesSlide21.xml"/><Relationship Id="rId9" Type="http://schemas.openxmlformats.org/officeDocument/2006/relationships/diagramQuickStyle" Target="../diagrams/quickStyle1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9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11" Type="http://schemas.microsoft.com/office/2007/relationships/diagramDrawing" Target="../diagrams/drawing19.xml"/><Relationship Id="rId5" Type="http://schemas.openxmlformats.org/officeDocument/2006/relationships/oleObject" Target="../embeddings/oleObject25.bin"/><Relationship Id="rId10" Type="http://schemas.openxmlformats.org/officeDocument/2006/relationships/diagramColors" Target="../diagrams/colors19.xml"/><Relationship Id="rId4" Type="http://schemas.openxmlformats.org/officeDocument/2006/relationships/notesSlide" Target="../notesSlides/notesSlide22.xml"/><Relationship Id="rId9" Type="http://schemas.openxmlformats.org/officeDocument/2006/relationships/diagramQuickStyle" Target="../diagrams/quickStyle1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0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0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11" Type="http://schemas.microsoft.com/office/2007/relationships/diagramDrawing" Target="../diagrams/drawing20.xml"/><Relationship Id="rId5" Type="http://schemas.openxmlformats.org/officeDocument/2006/relationships/oleObject" Target="../embeddings/oleObject26.bin"/><Relationship Id="rId10" Type="http://schemas.openxmlformats.org/officeDocument/2006/relationships/diagramColors" Target="../diagrams/colors20.xml"/><Relationship Id="rId4" Type="http://schemas.openxmlformats.org/officeDocument/2006/relationships/notesSlide" Target="../notesSlides/notesSlide23.xml"/><Relationship Id="rId9" Type="http://schemas.openxmlformats.org/officeDocument/2006/relationships/diagramQuickStyle" Target="../diagrams/quickStyle2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1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11" Type="http://schemas.microsoft.com/office/2007/relationships/diagramDrawing" Target="../diagrams/drawing21.xml"/><Relationship Id="rId5" Type="http://schemas.openxmlformats.org/officeDocument/2006/relationships/oleObject" Target="../embeddings/oleObject27.bin"/><Relationship Id="rId10" Type="http://schemas.openxmlformats.org/officeDocument/2006/relationships/diagramColors" Target="../diagrams/colors21.xml"/><Relationship Id="rId4" Type="http://schemas.openxmlformats.org/officeDocument/2006/relationships/notesSlide" Target="../notesSlides/notesSlide24.xml"/><Relationship Id="rId9" Type="http://schemas.openxmlformats.org/officeDocument/2006/relationships/diagramQuickStyle" Target="../diagrams/quickStyle2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2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11" Type="http://schemas.microsoft.com/office/2007/relationships/diagramDrawing" Target="../diagrams/drawing22.xml"/><Relationship Id="rId5" Type="http://schemas.openxmlformats.org/officeDocument/2006/relationships/oleObject" Target="../embeddings/oleObject28.bin"/><Relationship Id="rId10" Type="http://schemas.openxmlformats.org/officeDocument/2006/relationships/diagramColors" Target="../diagrams/colors22.xml"/><Relationship Id="rId4" Type="http://schemas.openxmlformats.org/officeDocument/2006/relationships/notesSlide" Target="../notesSlides/notesSlide25.xml"/><Relationship Id="rId9" Type="http://schemas.openxmlformats.org/officeDocument/2006/relationships/diagramQuickStyle" Target="../diagrams/quickStyle2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3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11" Type="http://schemas.microsoft.com/office/2007/relationships/diagramDrawing" Target="../diagrams/drawing23.xml"/><Relationship Id="rId5" Type="http://schemas.openxmlformats.org/officeDocument/2006/relationships/oleObject" Target="../embeddings/oleObject29.bin"/><Relationship Id="rId10" Type="http://schemas.openxmlformats.org/officeDocument/2006/relationships/diagramColors" Target="../diagrams/colors23.xml"/><Relationship Id="rId4" Type="http://schemas.openxmlformats.org/officeDocument/2006/relationships/notesSlide" Target="../notesSlides/notesSlide26.xml"/><Relationship Id="rId9" Type="http://schemas.openxmlformats.org/officeDocument/2006/relationships/diagramQuickStyle" Target="../diagrams/quickStyle2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4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11" Type="http://schemas.microsoft.com/office/2007/relationships/diagramDrawing" Target="../diagrams/drawing24.xml"/><Relationship Id="rId5" Type="http://schemas.openxmlformats.org/officeDocument/2006/relationships/oleObject" Target="../embeddings/oleObject30.bin"/><Relationship Id="rId10" Type="http://schemas.openxmlformats.org/officeDocument/2006/relationships/diagramColors" Target="../diagrams/colors24.xml"/><Relationship Id="rId4" Type="http://schemas.openxmlformats.org/officeDocument/2006/relationships/notesSlide" Target="../notesSlides/notesSlide27.xml"/><Relationship Id="rId9" Type="http://schemas.openxmlformats.org/officeDocument/2006/relationships/diagramQuickStyle" Target="../diagrams/quickStyle2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5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11" Type="http://schemas.microsoft.com/office/2007/relationships/diagramDrawing" Target="../diagrams/drawing25.xml"/><Relationship Id="rId5" Type="http://schemas.openxmlformats.org/officeDocument/2006/relationships/oleObject" Target="../embeddings/oleObject31.bin"/><Relationship Id="rId10" Type="http://schemas.openxmlformats.org/officeDocument/2006/relationships/diagramColors" Target="../diagrams/colors25.xml"/><Relationship Id="rId4" Type="http://schemas.openxmlformats.org/officeDocument/2006/relationships/notesSlide" Target="../notesSlides/notesSlide28.xml"/><Relationship Id="rId9" Type="http://schemas.openxmlformats.org/officeDocument/2006/relationships/diagramQuickStyle" Target="../diagrams/quickStyle2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6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6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11" Type="http://schemas.microsoft.com/office/2007/relationships/diagramDrawing" Target="../diagrams/drawing26.xml"/><Relationship Id="rId5" Type="http://schemas.openxmlformats.org/officeDocument/2006/relationships/oleObject" Target="../embeddings/oleObject32.bin"/><Relationship Id="rId10" Type="http://schemas.openxmlformats.org/officeDocument/2006/relationships/diagramColors" Target="../diagrams/colors26.xml"/><Relationship Id="rId4" Type="http://schemas.openxmlformats.org/officeDocument/2006/relationships/notesSlide" Target="../notesSlides/notesSlide29.xml"/><Relationship Id="rId9" Type="http://schemas.openxmlformats.org/officeDocument/2006/relationships/diagramQuickStyle" Target="../diagrams/quickStyle2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6.bin"/><Relationship Id="rId10" Type="http://schemas.openxmlformats.org/officeDocument/2006/relationships/diagramColors" Target="../diagrams/colors2.xml"/><Relationship Id="rId4" Type="http://schemas.openxmlformats.org/officeDocument/2006/relationships/notesSlide" Target="../notesSlides/notesSlide3.xml"/><Relationship Id="rId9" Type="http://schemas.openxmlformats.org/officeDocument/2006/relationships/diagramQuickStyle" Target="../diagrams/quickStyle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7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7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11" Type="http://schemas.microsoft.com/office/2007/relationships/diagramDrawing" Target="../diagrams/drawing27.xml"/><Relationship Id="rId5" Type="http://schemas.openxmlformats.org/officeDocument/2006/relationships/oleObject" Target="../embeddings/oleObject33.bin"/><Relationship Id="rId10" Type="http://schemas.openxmlformats.org/officeDocument/2006/relationships/diagramColors" Target="../diagrams/colors27.xml"/><Relationship Id="rId4" Type="http://schemas.openxmlformats.org/officeDocument/2006/relationships/notesSlide" Target="../notesSlides/notesSlide30.xml"/><Relationship Id="rId9" Type="http://schemas.openxmlformats.org/officeDocument/2006/relationships/diagramQuickStyle" Target="../diagrams/quickStyle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8.bin"/><Relationship Id="rId10" Type="http://schemas.openxmlformats.org/officeDocument/2006/relationships/diagramColors" Target="../diagrams/colors3.xml"/><Relationship Id="rId4" Type="http://schemas.openxmlformats.org/officeDocument/2006/relationships/notesSlide" Target="../notesSlides/notesSlide5.xml"/><Relationship Id="rId9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9.bin"/><Relationship Id="rId10" Type="http://schemas.openxmlformats.org/officeDocument/2006/relationships/diagramColors" Target="../diagrams/colors4.xml"/><Relationship Id="rId4" Type="http://schemas.openxmlformats.org/officeDocument/2006/relationships/notesSlide" Target="../notesSlides/notesSlide6.xml"/><Relationship Id="rId9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11" Type="http://schemas.microsoft.com/office/2007/relationships/diagramDrawing" Target="../diagrams/drawing5.xml"/><Relationship Id="rId5" Type="http://schemas.openxmlformats.org/officeDocument/2006/relationships/oleObject" Target="../embeddings/oleObject10.bin"/><Relationship Id="rId10" Type="http://schemas.openxmlformats.org/officeDocument/2006/relationships/diagramColors" Target="../diagrams/colors5.xml"/><Relationship Id="rId4" Type="http://schemas.openxmlformats.org/officeDocument/2006/relationships/notesSlide" Target="../notesSlides/notesSlide7.xml"/><Relationship Id="rId9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11" Type="http://schemas.microsoft.com/office/2007/relationships/diagramDrawing" Target="../diagrams/drawing6.xml"/><Relationship Id="rId5" Type="http://schemas.openxmlformats.org/officeDocument/2006/relationships/oleObject" Target="../embeddings/oleObject12.bin"/><Relationship Id="rId10" Type="http://schemas.openxmlformats.org/officeDocument/2006/relationships/diagramColors" Target="../diagrams/colors6.xml"/><Relationship Id="rId4" Type="http://schemas.openxmlformats.org/officeDocument/2006/relationships/notesSlide" Target="../notesSlides/notesSlide9.xml"/><Relationship Id="rId9" Type="http://schemas.openxmlformats.org/officeDocument/2006/relationships/diagramQuickStyle" Target="../diagrams/quickStyl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 idx="4294967295"/>
            <p:custDataLst>
              <p:tags r:id="rId3"/>
            </p:custDataLst>
          </p:nvPr>
        </p:nvSpPr>
        <p:spPr>
          <a:xfrm>
            <a:off x="154744" y="3218524"/>
            <a:ext cx="4206241" cy="692296"/>
          </a:xfrm>
        </p:spPr>
        <p:txBody>
          <a:bodyPr/>
          <a:lstStyle/>
          <a:p>
            <a:r>
              <a:rPr lang="en-US" dirty="0" smtClean="0"/>
              <a:t>MongoDB – Aggregations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970671" y="3910820"/>
            <a:ext cx="23915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esson-0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576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3200" dirty="0">
                <a:solidFill>
                  <a:schemeClr val="accent1"/>
                </a:solidFill>
              </a:rPr>
              <a:t>Pipeline </a:t>
            </a:r>
            <a:r>
              <a:rPr lang="en-US" sz="3200" dirty="0" smtClean="0">
                <a:solidFill>
                  <a:schemeClr val="accent1"/>
                </a:solidFill>
              </a:rPr>
              <a:t>Operations-$</a:t>
            </a:r>
            <a:r>
              <a:rPr lang="en-US" sz="3200" dirty="0">
                <a:solidFill>
                  <a:schemeClr val="accent1"/>
                </a:solidFill>
              </a:rPr>
              <a:t>match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398404118"/>
              </p:ext>
            </p:extLst>
          </p:nvPr>
        </p:nvGraphicFramePr>
        <p:xfrm>
          <a:off x="956441" y="1308100"/>
          <a:ext cx="7469622" cy="38017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635714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unwind</a:t>
            </a: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710485839"/>
              </p:ext>
            </p:extLst>
          </p:nvPr>
        </p:nvGraphicFramePr>
        <p:xfrm>
          <a:off x="1320261" y="1169056"/>
          <a:ext cx="6931168" cy="4437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820168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tx2"/>
                </a:solidFill>
              </a:rPr>
              <a:t>Pipeline Operations-$</a:t>
            </a:r>
            <a:r>
              <a:rPr lang="en-US" sz="2800" dirty="0" smtClean="0">
                <a:solidFill>
                  <a:schemeClr val="tx2"/>
                </a:solidFill>
              </a:rPr>
              <a:t>unwind-Example</a:t>
            </a:r>
            <a:endParaRPr lang="en-US" sz="2800" dirty="0">
              <a:solidFill>
                <a:schemeClr val="tx2"/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313964397"/>
              </p:ext>
            </p:extLst>
          </p:nvPr>
        </p:nvGraphicFramePr>
        <p:xfrm>
          <a:off x="669429" y="1169056"/>
          <a:ext cx="8120453" cy="51614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199214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group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735973619"/>
              </p:ext>
            </p:extLst>
          </p:nvPr>
        </p:nvGraphicFramePr>
        <p:xfrm>
          <a:off x="738149" y="1557080"/>
          <a:ext cx="7920758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128473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group (contd.)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396030173"/>
              </p:ext>
            </p:extLst>
          </p:nvPr>
        </p:nvGraphicFramePr>
        <p:xfrm>
          <a:off x="1174732" y="1557081"/>
          <a:ext cx="7309542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870037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project</a:t>
            </a:r>
          </a:p>
        </p:txBody>
      </p:sp>
      <p:graphicFrame>
        <p:nvGraphicFramePr>
          <p:cNvPr id="6" name="Diagram 5"/>
          <p:cNvGraphicFramePr/>
          <p:nvPr/>
        </p:nvGraphicFramePr>
        <p:xfrm>
          <a:off x="918647" y="1648958"/>
          <a:ext cx="7012621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180360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</a:t>
            </a:r>
            <a:r>
              <a:rPr lang="en-US" sz="2800" dirty="0" smtClean="0">
                <a:solidFill>
                  <a:schemeClr val="accent1"/>
                </a:solidFill>
                <a:latin typeface="Arial Narrow" pitchFamily="34" charset="0"/>
              </a:rPr>
              <a:t>$</a:t>
            </a:r>
            <a:r>
              <a:rPr lang="en-US" sz="2800" dirty="0">
                <a:solidFill>
                  <a:schemeClr val="accent1"/>
                </a:solidFill>
                <a:latin typeface="Arial Narrow" pitchFamily="34" charset="0"/>
              </a:rPr>
              <a:t>Sort 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891253632"/>
              </p:ext>
            </p:extLst>
          </p:nvPr>
        </p:nvGraphicFramePr>
        <p:xfrm>
          <a:off x="1259443" y="1661556"/>
          <a:ext cx="7297595" cy="427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426427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limit and $skip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452986863"/>
              </p:ext>
            </p:extLst>
          </p:nvPr>
        </p:nvGraphicFramePr>
        <p:xfrm>
          <a:off x="750283" y="1169056"/>
          <a:ext cx="7664121" cy="45736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907139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first</a:t>
            </a:r>
          </a:p>
        </p:txBody>
      </p:sp>
      <p:graphicFrame>
        <p:nvGraphicFramePr>
          <p:cNvPr id="7" name="Diagram 6"/>
          <p:cNvGraphicFramePr/>
          <p:nvPr/>
        </p:nvGraphicFramePr>
        <p:xfrm>
          <a:off x="1509446" y="1527975"/>
          <a:ext cx="6349057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55056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Operations-$</a:t>
            </a:r>
            <a:r>
              <a:rPr lang="en-US" sz="2800" dirty="0" smtClean="0">
                <a:solidFill>
                  <a:schemeClr val="accent1"/>
                </a:solidFill>
              </a:rPr>
              <a:t>first- </a:t>
            </a:r>
            <a:r>
              <a:rPr lang="en-US" sz="2800" dirty="0" smtClean="0">
                <a:solidFill>
                  <a:schemeClr val="tx2"/>
                </a:solidFill>
              </a:rPr>
              <a:t>Example</a:t>
            </a:r>
            <a:endParaRPr lang="en-US" sz="2800" dirty="0">
              <a:solidFill>
                <a:schemeClr val="tx2"/>
              </a:solidFill>
            </a:endParaRP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4024631642"/>
              </p:ext>
            </p:extLst>
          </p:nvPr>
        </p:nvGraphicFramePr>
        <p:xfrm>
          <a:off x="1131075" y="1426106"/>
          <a:ext cx="6669218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96058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3323" dirty="0" smtClean="0">
                <a:solidFill>
                  <a:srgbClr val="0094C3"/>
                </a:solidFill>
                <a:latin typeface="Arial Narrow" pitchFamily="34" charset="0"/>
              </a:rPr>
              <a:t>The Aggregation Framework-What </a:t>
            </a:r>
            <a:r>
              <a:rPr lang="en-US" sz="3323" dirty="0">
                <a:solidFill>
                  <a:srgbClr val="0094C3"/>
                </a:solidFill>
                <a:latin typeface="Arial Narrow" pitchFamily="34" charset="0"/>
              </a:rPr>
              <a:t>is Aggregation?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208225665"/>
              </p:ext>
            </p:extLst>
          </p:nvPr>
        </p:nvGraphicFramePr>
        <p:xfrm>
          <a:off x="1347628" y="1497783"/>
          <a:ext cx="6488286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538130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last</a:t>
            </a:r>
          </a:p>
        </p:txBody>
      </p:sp>
      <p:graphicFrame>
        <p:nvGraphicFramePr>
          <p:cNvPr id="8" name="Diagram 7"/>
          <p:cNvGraphicFramePr/>
          <p:nvPr/>
        </p:nvGraphicFramePr>
        <p:xfrm>
          <a:off x="1174734" y="1527974"/>
          <a:ext cx="6843851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267551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last (contd.)</a:t>
            </a: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692641757"/>
              </p:ext>
            </p:extLst>
          </p:nvPr>
        </p:nvGraphicFramePr>
        <p:xfrm>
          <a:off x="951018" y="1169056"/>
          <a:ext cx="7746126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50225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sum</a:t>
            </a:r>
          </a:p>
        </p:txBody>
      </p:sp>
      <p:graphicFrame>
        <p:nvGraphicFramePr>
          <p:cNvPr id="8" name="Diagram 7"/>
          <p:cNvGraphicFramePr/>
          <p:nvPr/>
        </p:nvGraphicFramePr>
        <p:xfrm>
          <a:off x="858615" y="1484317"/>
          <a:ext cx="7451025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088148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Operations-$sum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562620723"/>
              </p:ext>
            </p:extLst>
          </p:nvPr>
        </p:nvGraphicFramePr>
        <p:xfrm>
          <a:off x="1000099" y="1003300"/>
          <a:ext cx="7251330" cy="45741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957479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avg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649179223"/>
              </p:ext>
            </p:extLst>
          </p:nvPr>
        </p:nvGraphicFramePr>
        <p:xfrm>
          <a:off x="975037" y="1397000"/>
          <a:ext cx="7101759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6817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Operations-$</a:t>
            </a:r>
            <a:r>
              <a:rPr lang="en-US" sz="2800" dirty="0" smtClean="0">
                <a:solidFill>
                  <a:schemeClr val="accent1"/>
                </a:solidFill>
              </a:rPr>
              <a:t>avg  </a:t>
            </a:r>
            <a:r>
              <a:rPr lang="en-US" sz="2800" dirty="0" smtClean="0">
                <a:solidFill>
                  <a:schemeClr val="tx2"/>
                </a:solidFill>
              </a:rPr>
              <a:t>-Example</a:t>
            </a:r>
            <a:endParaRPr lang="en-US" sz="2800" dirty="0">
              <a:solidFill>
                <a:schemeClr val="tx2"/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751930164"/>
              </p:ext>
            </p:extLst>
          </p:nvPr>
        </p:nvGraphicFramePr>
        <p:xfrm>
          <a:off x="1203838" y="1484317"/>
          <a:ext cx="6974827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717014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max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949689666"/>
              </p:ext>
            </p:extLst>
          </p:nvPr>
        </p:nvGraphicFramePr>
        <p:xfrm>
          <a:off x="825465" y="1629844"/>
          <a:ext cx="7906206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775839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3600" dirty="0">
                <a:solidFill>
                  <a:schemeClr val="accent1"/>
                </a:solidFill>
              </a:rPr>
              <a:t>Pipeline </a:t>
            </a:r>
            <a:r>
              <a:rPr lang="en-US" sz="3600" dirty="0" smtClean="0">
                <a:solidFill>
                  <a:schemeClr val="accent1"/>
                </a:solidFill>
              </a:rPr>
              <a:t>Operations</a:t>
            </a:r>
            <a:r>
              <a:rPr lang="en-US" sz="3323" dirty="0" smtClean="0">
                <a:solidFill>
                  <a:schemeClr val="accent1"/>
                </a:solidFill>
                <a:latin typeface="Arial Narrow" pitchFamily="34" charset="0"/>
              </a:rPr>
              <a:t>-$</a:t>
            </a:r>
            <a:r>
              <a:rPr lang="en-US" sz="3323" dirty="0">
                <a:solidFill>
                  <a:schemeClr val="accent1"/>
                </a:solidFill>
                <a:latin typeface="Arial Narrow" pitchFamily="34" charset="0"/>
              </a:rPr>
              <a:t>min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70212266"/>
              </p:ext>
            </p:extLst>
          </p:nvPr>
        </p:nvGraphicFramePr>
        <p:xfrm>
          <a:off x="1116522" y="1169056"/>
          <a:ext cx="7164012" cy="44811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892009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3600" dirty="0">
                <a:solidFill>
                  <a:schemeClr val="accent1"/>
                </a:solidFill>
              </a:rPr>
              <a:t>Pipeline </a:t>
            </a:r>
            <a:r>
              <a:rPr lang="en-US" sz="3600" dirty="0" smtClean="0">
                <a:solidFill>
                  <a:schemeClr val="accent1"/>
                </a:solidFill>
              </a:rPr>
              <a:t>Operations</a:t>
            </a:r>
            <a:r>
              <a:rPr lang="en-US" sz="3323" dirty="0" smtClean="0">
                <a:solidFill>
                  <a:schemeClr val="accent1"/>
                </a:solidFill>
                <a:latin typeface="Arial Narrow" pitchFamily="34" charset="0"/>
              </a:rPr>
              <a:t>-$</a:t>
            </a:r>
            <a:r>
              <a:rPr lang="en-US" sz="3323" dirty="0">
                <a:solidFill>
                  <a:schemeClr val="accent1"/>
                </a:solidFill>
                <a:latin typeface="Arial Narrow" pitchFamily="34" charset="0"/>
              </a:rPr>
              <a:t>push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723256695"/>
              </p:ext>
            </p:extLst>
          </p:nvPr>
        </p:nvGraphicFramePr>
        <p:xfrm>
          <a:off x="970994" y="1629845"/>
          <a:ext cx="741141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877221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3600" dirty="0">
                <a:solidFill>
                  <a:schemeClr val="accent1"/>
                </a:solidFill>
              </a:rPr>
              <a:t>Pipeline </a:t>
            </a:r>
            <a:r>
              <a:rPr lang="en-US" sz="3600" dirty="0" smtClean="0">
                <a:solidFill>
                  <a:schemeClr val="accent1"/>
                </a:solidFill>
              </a:rPr>
              <a:t>Operations-</a:t>
            </a:r>
            <a:r>
              <a:rPr lang="en-US" sz="3323" dirty="0" smtClean="0">
                <a:solidFill>
                  <a:schemeClr val="accent1"/>
                </a:solidFill>
                <a:latin typeface="Arial Narrow" pitchFamily="34" charset="0"/>
              </a:rPr>
              <a:t>$</a:t>
            </a:r>
            <a:r>
              <a:rPr lang="en-US" sz="3323" dirty="0">
                <a:solidFill>
                  <a:schemeClr val="accent1"/>
                </a:solidFill>
                <a:latin typeface="Arial Narrow" pitchFamily="34" charset="0"/>
              </a:rPr>
              <a:t>addToSet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674905157"/>
              </p:ext>
            </p:extLst>
          </p:nvPr>
        </p:nvGraphicFramePr>
        <p:xfrm>
          <a:off x="912783" y="1702609"/>
          <a:ext cx="7891651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195860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393700"/>
            <a:ext cx="8229600" cy="775356"/>
          </a:xfrm>
          <a:prstGeom prst="rect">
            <a:avLst/>
          </a:prstGeom>
        </p:spPr>
        <p:txBody>
          <a:bodyPr vert="horz" lIns="274642" tIns="30516" rIns="152579" bIns="30516" rtlCol="0" anchor="ctr">
            <a:no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rgbClr val="0094C3"/>
                </a:solidFill>
                <a:latin typeface="Arial Narrow" pitchFamily="34" charset="0"/>
              </a:rPr>
              <a:t>The Aggregation Framework-What </a:t>
            </a:r>
            <a:r>
              <a:rPr lang="en-US" sz="2800" dirty="0" smtClean="0">
                <a:solidFill>
                  <a:srgbClr val="0094C3"/>
                </a:solidFill>
                <a:latin typeface="Arial Narrow" pitchFamily="34" charset="0"/>
              </a:rPr>
              <a:t>Types </a:t>
            </a:r>
            <a:r>
              <a:rPr lang="en-US" sz="2800" dirty="0">
                <a:solidFill>
                  <a:srgbClr val="0094C3"/>
                </a:solidFill>
                <a:latin typeface="Arial Narrow" pitchFamily="34" charset="0"/>
              </a:rPr>
              <a:t>of Aggregations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649926892"/>
              </p:ext>
            </p:extLst>
          </p:nvPr>
        </p:nvGraphicFramePr>
        <p:xfrm>
          <a:off x="1549196" y="154817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834091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rojection using </a:t>
            </a:r>
            <a:r>
              <a:rPr lang="en-US" dirty="0" smtClean="0"/>
              <a:t>Mongo Template </a:t>
            </a:r>
            <a:r>
              <a:rPr lang="en-US" dirty="0"/>
              <a:t>in Spring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014154"/>
            <a:ext cx="8845484" cy="5124364"/>
          </a:xfrm>
        </p:spPr>
        <p:txBody>
          <a:bodyPr/>
          <a:lstStyle/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Spring Data MongoDB provides simple high-level abstractions to MongoDB native query </a:t>
            </a:r>
            <a:r>
              <a:rPr lang="en-US" dirty="0" smtClean="0"/>
              <a:t>language</a:t>
            </a:r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In </a:t>
            </a:r>
            <a:r>
              <a:rPr lang="en-US" dirty="0"/>
              <a:t>MongoDB, Projections are a way to fetch only the required fields of a document from a database. </a:t>
            </a:r>
            <a:endParaRPr lang="en-US" dirty="0" smtClean="0"/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This </a:t>
            </a:r>
            <a:r>
              <a:rPr lang="en-US" dirty="0"/>
              <a:t>reduces the amount of data that has to be transferred from database server to client and hence increases performance.</a:t>
            </a:r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With Spring Data MongDB, projections can be used both with </a:t>
            </a:r>
            <a:r>
              <a:rPr lang="en-US" i="1" dirty="0"/>
              <a:t>MongoTemplate</a:t>
            </a:r>
            <a:r>
              <a:rPr lang="en-US" dirty="0"/>
              <a:t> and </a:t>
            </a:r>
            <a:r>
              <a:rPr lang="en-US" i="1" dirty="0"/>
              <a:t>MongoRepository</a:t>
            </a:r>
            <a:r>
              <a:rPr lang="en-US" i="1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20703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rojection using </a:t>
            </a:r>
            <a:r>
              <a:rPr lang="en-US" dirty="0" smtClean="0"/>
              <a:t>Mongo Template </a:t>
            </a:r>
            <a:r>
              <a:rPr lang="en-US" dirty="0"/>
              <a:t>in </a:t>
            </a:r>
            <a:r>
              <a:rPr lang="en-US" dirty="0" smtClean="0"/>
              <a:t>Spring-Annotation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ocument(collection = "users")</a:t>
            </a:r>
          </a:p>
          <a:p>
            <a:r>
              <a:rPr lang="en-US" b="1" dirty="0"/>
              <a:t>public class User</a:t>
            </a:r>
          </a:p>
          <a:p>
            <a:r>
              <a:rPr lang="en-US" dirty="0"/>
              <a:t>{</a:t>
            </a:r>
          </a:p>
          <a:p>
            <a:r>
              <a:rPr lang="en-US" dirty="0"/>
              <a:t>    @Id</a:t>
            </a:r>
          </a:p>
          <a:p>
            <a:r>
              <a:rPr lang="en-US" dirty="0"/>
              <a:t>    </a:t>
            </a:r>
            <a:r>
              <a:rPr lang="en-US" b="1" dirty="0"/>
              <a:t>private String id;</a:t>
            </a:r>
          </a:p>
          <a:p>
            <a:r>
              <a:rPr lang="en-US" dirty="0"/>
              <a:t>    </a:t>
            </a:r>
            <a:r>
              <a:rPr lang="en-US" b="1" dirty="0"/>
              <a:t>private String name</a:t>
            </a:r>
            <a:r>
              <a:rPr lang="en-US" b="1" dirty="0" smtClean="0"/>
              <a:t>;</a:t>
            </a:r>
          </a:p>
          <a:p>
            <a:r>
              <a:rPr lang="en-US" b="1" dirty="0" smtClean="0"/>
              <a:t>------</a:t>
            </a:r>
          </a:p>
          <a:p>
            <a:r>
              <a:rPr lang="en-US" b="1" dirty="0" smtClean="0"/>
              <a:t>}</a:t>
            </a:r>
          </a:p>
          <a:p>
            <a:endParaRPr lang="en-US" b="1" dirty="0"/>
          </a:p>
          <a:p>
            <a:endParaRPr lang="en-US" b="1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 smtClean="0"/>
              <a:t>Refer  SpringMobgoDb 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376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3323" dirty="0">
                <a:solidFill>
                  <a:srgbClr val="0094C3"/>
                </a:solidFill>
                <a:latin typeface="Arial Narrow" pitchFamily="34" charset="0"/>
              </a:rPr>
              <a:t>Summary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47290243"/>
              </p:ext>
            </p:extLst>
          </p:nvPr>
        </p:nvGraphicFramePr>
        <p:xfrm>
          <a:off x="1549196" y="154817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307709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764931"/>
          </a:xfrm>
          <a:prstGeom prst="rect">
            <a:avLst/>
          </a:prstGeom>
        </p:spPr>
        <p:txBody>
          <a:bodyPr vert="horz" lIns="274642" tIns="30516" rIns="152579" bIns="30516" rtlCol="0" anchor="ctr">
            <a:no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rgbClr val="0094C3"/>
                </a:solidFill>
                <a:latin typeface="Arial Narrow" pitchFamily="34" charset="0"/>
              </a:rPr>
              <a:t>The Aggregation </a:t>
            </a:r>
            <a:r>
              <a:rPr lang="en-US" sz="2800" dirty="0" smtClean="0">
                <a:solidFill>
                  <a:srgbClr val="0094C3"/>
                </a:solidFill>
                <a:latin typeface="Arial Narrow" pitchFamily="34" charset="0"/>
              </a:rPr>
              <a:t>Framework-What </a:t>
            </a:r>
            <a:r>
              <a:rPr lang="en-US" sz="2800" dirty="0">
                <a:solidFill>
                  <a:srgbClr val="0094C3"/>
                </a:solidFill>
                <a:latin typeface="Arial Narrow" pitchFamily="34" charset="0"/>
              </a:rPr>
              <a:t>is Aggregation? (contd.)</a:t>
            </a:r>
          </a:p>
        </p:txBody>
      </p:sp>
      <p:pic>
        <p:nvPicPr>
          <p:cNvPr id="6" name="Picture 3" descr="C:\Users\Crzyosh\Documents\Vandy\Classes\CS_292\Presentation\MongoDB\pipeline_pic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8432" y="1369780"/>
            <a:ext cx="8149661" cy="465689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92510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457200"/>
            <a:ext cx="8229600" cy="711856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 fontScale="92500"/>
          </a:bodyPr>
          <a:lstStyle/>
          <a:p>
            <a:pPr defTabSz="844029">
              <a:spcBef>
                <a:spcPct val="0"/>
              </a:spcBef>
            </a:pPr>
            <a:r>
              <a:rPr lang="en-US" sz="3323" dirty="0">
                <a:solidFill>
                  <a:srgbClr val="0094C3"/>
                </a:solidFill>
                <a:latin typeface="Arial Narrow" pitchFamily="34" charset="0"/>
              </a:rPr>
              <a:t>The Aggregation </a:t>
            </a:r>
            <a:r>
              <a:rPr lang="en-US" sz="3323" dirty="0" smtClean="0">
                <a:solidFill>
                  <a:srgbClr val="0094C3"/>
                </a:solidFill>
                <a:latin typeface="Arial Narrow" pitchFamily="34" charset="0"/>
              </a:rPr>
              <a:t>Framework-The  </a:t>
            </a:r>
            <a:r>
              <a:rPr lang="en-US" sz="3323" dirty="0">
                <a:solidFill>
                  <a:srgbClr val="0094C3"/>
                </a:solidFill>
                <a:latin typeface="Arial Narrow" pitchFamily="34" charset="0"/>
              </a:rPr>
              <a:t>Aggregate() Method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501405696"/>
              </p:ext>
            </p:extLst>
          </p:nvPr>
        </p:nvGraphicFramePr>
        <p:xfrm>
          <a:off x="869124" y="1644396"/>
          <a:ext cx="7396858" cy="44135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780985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Pipeline </a:t>
            </a:r>
            <a:r>
              <a:rPr lang="en-US" sz="2800" dirty="0">
                <a:solidFill>
                  <a:schemeClr val="accent1"/>
                </a:solidFill>
              </a:rPr>
              <a:t>Concept</a:t>
            </a:r>
          </a:p>
        </p:txBody>
      </p:sp>
      <p:graphicFrame>
        <p:nvGraphicFramePr>
          <p:cNvPr id="10" name="Diagram 9"/>
          <p:cNvGraphicFramePr/>
          <p:nvPr/>
        </p:nvGraphicFramePr>
        <p:xfrm>
          <a:off x="1436683" y="1455211"/>
          <a:ext cx="6756534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836729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3200" dirty="0">
                <a:solidFill>
                  <a:schemeClr val="accent1"/>
                </a:solidFill>
              </a:rPr>
              <a:t>Pipeline </a:t>
            </a:r>
            <a:r>
              <a:rPr lang="en-US" sz="3200" dirty="0" smtClean="0">
                <a:solidFill>
                  <a:schemeClr val="accent1"/>
                </a:solidFill>
              </a:rPr>
              <a:t>Operations-</a:t>
            </a:r>
            <a:r>
              <a:rPr lang="en-US" sz="3200" dirty="0" smtClean="0">
                <a:solidFill>
                  <a:schemeClr val="accent1"/>
                </a:solidFill>
                <a:latin typeface="Arial Narrow" pitchFamily="34" charset="0"/>
              </a:rPr>
              <a:t>Pipelines</a:t>
            </a:r>
            <a:endParaRPr lang="en-US" sz="3200" dirty="0">
              <a:solidFill>
                <a:schemeClr val="accent1"/>
              </a:solidFill>
              <a:latin typeface="Arial Narrow" pitchFamily="34" charset="0"/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155430683"/>
              </p:ext>
            </p:extLst>
          </p:nvPr>
        </p:nvGraphicFramePr>
        <p:xfrm>
          <a:off x="621718" y="1169056"/>
          <a:ext cx="8240928" cy="47848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199856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3600" dirty="0">
                <a:solidFill>
                  <a:schemeClr val="accent1"/>
                </a:solidFill>
              </a:rPr>
              <a:t>Pipeline </a:t>
            </a:r>
            <a:r>
              <a:rPr lang="en-US" sz="3600" dirty="0" smtClean="0">
                <a:solidFill>
                  <a:schemeClr val="accent1"/>
                </a:solidFill>
              </a:rPr>
              <a:t>Operations-</a:t>
            </a:r>
            <a:r>
              <a:rPr lang="en-US" sz="3323" dirty="0" smtClean="0">
                <a:solidFill>
                  <a:schemeClr val="accent1"/>
                </a:solidFill>
                <a:latin typeface="Arial Narrow" pitchFamily="34" charset="0"/>
              </a:rPr>
              <a:t>Pipeline </a:t>
            </a:r>
            <a:r>
              <a:rPr lang="en-US" sz="3323" dirty="0">
                <a:solidFill>
                  <a:schemeClr val="accent1"/>
                </a:solidFill>
                <a:latin typeface="Arial Narrow" pitchFamily="34" charset="0"/>
              </a:rPr>
              <a:t>Flow</a:t>
            </a:r>
          </a:p>
        </p:txBody>
      </p:sp>
      <p:pic>
        <p:nvPicPr>
          <p:cNvPr id="6" name="Content Placeholder 5" descr="280px-Pipeline_svg.png"/>
          <p:cNvPicPr>
            <a:picLocks noGrp="1" noChangeAspect="1"/>
          </p:cNvPicPr>
          <p:nvPr>
            <p:ph idx="1"/>
          </p:nvPr>
        </p:nvPicPr>
        <p:blipFill>
          <a:blip r:embed="rId7" cstate="print"/>
          <a:stretch>
            <a:fillRect/>
          </a:stretch>
        </p:blipFill>
        <p:spPr>
          <a:xfrm>
            <a:off x="905736" y="1413785"/>
            <a:ext cx="7709513" cy="45837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47192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Operations- </a:t>
            </a:r>
            <a:r>
              <a:rPr lang="en-US" sz="2800" dirty="0" smtClean="0">
                <a:solidFill>
                  <a:schemeClr val="accent1"/>
                </a:solidFill>
              </a:rPr>
              <a:t>Pipeline </a:t>
            </a:r>
            <a:r>
              <a:rPr lang="en-US" sz="2800" dirty="0">
                <a:solidFill>
                  <a:schemeClr val="accent1"/>
                </a:solidFill>
              </a:rPr>
              <a:t>Operators</a:t>
            </a:r>
          </a:p>
        </p:txBody>
      </p:sp>
      <p:graphicFrame>
        <p:nvGraphicFramePr>
          <p:cNvPr id="8" name="Diagram 7"/>
          <p:cNvGraphicFramePr/>
          <p:nvPr/>
        </p:nvGraphicFramePr>
        <p:xfrm>
          <a:off x="1494894" y="1891803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6" name="Rectangle 5"/>
          <p:cNvSpPr/>
          <p:nvPr/>
        </p:nvSpPr>
        <p:spPr>
          <a:xfrm>
            <a:off x="2690104" y="1388681"/>
            <a:ext cx="4112023" cy="348109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r>
              <a:rPr lang="en-US" sz="1662" b="1" dirty="0"/>
              <a:t>The basic pipeline operators are:</a:t>
            </a:r>
          </a:p>
        </p:txBody>
      </p:sp>
    </p:spTree>
    <p:extLst>
      <p:ext uri="{BB962C8B-B14F-4D97-AF65-F5344CB8AC3E}">
        <p14:creationId xmlns:p14="http://schemas.microsoft.com/office/powerpoint/2010/main" val="207873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065CD12-128C-4DBC-873E-82FC4B88A761}"/>
    </a:ext>
  </a:extLst>
</a:theme>
</file>

<file path=ppt/theme/theme2.xml><?xml version="1.0" encoding="utf-8"?>
<a:theme xmlns:a="http://schemas.openxmlformats.org/drawingml/2006/main" name="1_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_NEW template_CG [Read-Only]" id="{CC805206-9B32-4576-8949-3A9309D69F86}" vid="{BACD15C4-3CDE-49E0-B618-F38C8C25887C}"/>
    </a:ext>
  </a:extLst>
</a:theme>
</file>

<file path=ppt/theme/theme3.xml><?xml version="1.0" encoding="utf-8"?>
<a:theme xmlns:a="http://schemas.openxmlformats.org/drawingml/2006/main" name="2_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504A320-BF0C-4A8E-8664-9644A9AF95DC}"/>
    </a:ext>
  </a:extLst>
</a:theme>
</file>

<file path=ppt/theme/theme4.xml><?xml version="1.0" encoding="utf-8"?>
<a:theme xmlns:a="http://schemas.openxmlformats.org/drawingml/2006/main" name="1_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5.xml><?xml version="1.0" encoding="utf-8"?>
<a:theme xmlns:a="http://schemas.openxmlformats.org/drawingml/2006/main" name="1_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065CD12-128C-4DBC-873E-82FC4B88A761}"/>
    </a:ext>
  </a:extLst>
</a:theme>
</file>

<file path=ppt/theme/theme6.xml><?xml version="1.0" encoding="utf-8"?>
<a:theme xmlns:a="http://schemas.openxmlformats.org/drawingml/2006/main" name="3_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_NEW template_CG [Read-Only]" id="{CC805206-9B32-4576-8949-3A9309D69F86}" vid="{BACD15C4-3CDE-49E0-B618-F38C8C25887C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Demos</Material_x0020_Type>
    <_Version xmlns="http://schemas.microsoft.com/sharepoint/v3/fields" xsi:nil="true"/>
    <_DCDateModified xmlns="http://schemas.microsoft.com/sharepoint/v3/fields" xsi:nil="true"/>
    <Level xmlns="f9b258c7-9c72-463b-80f6-91d061ebb25d">L1</Level>
    <Category xmlns="f9b258c7-9c72-463b-80f6-91d061ebb25d">Module Artifact</Category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</ds:schemaRefs>
</ds:datastoreItem>
</file>

<file path=customXml/itemProps2.xml><?xml version="1.0" encoding="utf-8"?>
<ds:datastoreItem xmlns:ds="http://schemas.openxmlformats.org/officeDocument/2006/customXml" ds:itemID="{D7FAE72B-43B2-49E9-AA97-1BFBA1F6BA4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b258c7-9c72-463b-80f6-91d061ebb25d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71</TotalTime>
  <Words>2568</Words>
  <Application>Microsoft Office PowerPoint</Application>
  <PresentationFormat>On-screen Show (4:3)</PresentationFormat>
  <Paragraphs>357</Paragraphs>
  <Slides>32</Slides>
  <Notes>3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4" baseType="lpstr">
      <vt:lpstr>Arial</vt:lpstr>
      <vt:lpstr>Arial Narrow</vt:lpstr>
      <vt:lpstr>Calibri</vt:lpstr>
      <vt:lpstr>Verdana</vt:lpstr>
      <vt:lpstr>Wingdings</vt:lpstr>
      <vt:lpstr>Content and Image Layouts</vt:lpstr>
      <vt:lpstr>1_Section slides</vt:lpstr>
      <vt:lpstr>2_Section slides</vt:lpstr>
      <vt:lpstr>1_Content Layouts</vt:lpstr>
      <vt:lpstr>1_Content and Image Layouts</vt:lpstr>
      <vt:lpstr>3_Section slides</vt:lpstr>
      <vt:lpstr>think-cell Slide</vt:lpstr>
      <vt:lpstr>MongoDB – Aggrega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jection using Mongo Template in Spring </vt:lpstr>
      <vt:lpstr>Projection using Mongo Template in Spring-Annotations </vt:lpstr>
      <vt:lpstr>PowerPoint Presenta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Srivastava, Vaishali</cp:lastModifiedBy>
  <cp:revision>682</cp:revision>
  <dcterms:created xsi:type="dcterms:W3CDTF">2012-05-18T02:59:15Z</dcterms:created>
  <dcterms:modified xsi:type="dcterms:W3CDTF">2018-05-14T13:4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0AE62D972F90F4BABD1137CCFB20CA1</vt:lpwstr>
  </property>
</Properties>
</file>